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7.xml" ContentType="application/vnd.openxmlformats-officedocument.them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notesSlides/notesSlide1.xml" ContentType="application/vnd.openxmlformats-officedocument.presentationml.notesSlide+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notesSlides/notesSlide2.xml" ContentType="application/vnd.openxmlformats-officedocument.presentationml.notesSlide+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864" r:id="rId5"/>
    <p:sldMasterId id="2147483906" r:id="rId6"/>
    <p:sldMasterId id="2147483926" r:id="rId7"/>
    <p:sldMasterId id="2147483981" r:id="rId8"/>
    <p:sldMasterId id="2147484007" r:id="rId9"/>
    <p:sldMasterId id="2147484029" r:id="rId10"/>
  </p:sldMasterIdLst>
  <p:notesMasterIdLst>
    <p:notesMasterId r:id="rId15"/>
  </p:notesMasterIdLst>
  <p:handoutMasterIdLst>
    <p:handoutMasterId r:id="rId16"/>
  </p:handoutMasterIdLst>
  <p:sldIdLst>
    <p:sldId id="2147470782" r:id="rId11"/>
    <p:sldId id="2147470787" r:id="rId12"/>
    <p:sldId id="2147470788" r:id="rId13"/>
    <p:sldId id="2147470786" r:id="rId14"/>
  </p:sldIdLst>
  <p:sldSz cx="9144000" cy="6858000" type="screen4x3"/>
  <p:notesSz cx="7010400" cy="92964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24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39DD"/>
    <a:srgbClr val="FF0000"/>
    <a:srgbClr val="C8083F"/>
    <a:srgbClr val="F40A4D"/>
    <a:srgbClr val="000066"/>
    <a:srgbClr val="CCECFF"/>
    <a:srgbClr val="FFCCFF"/>
    <a:srgbClr val="CCCCFF"/>
    <a:srgbClr val="99FFCC"/>
    <a:srgbClr val="EDC9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88" autoAdjust="0"/>
    <p:restoredTop sz="90968" autoAdjust="0"/>
  </p:normalViewPr>
  <p:slideViewPr>
    <p:cSldViewPr snapToGrid="0" snapToObjects="1">
      <p:cViewPr varScale="1">
        <p:scale>
          <a:sx n="102" d="100"/>
          <a:sy n="102" d="100"/>
        </p:scale>
        <p:origin x="1740" y="96"/>
      </p:cViewPr>
      <p:guideLst/>
    </p:cSldViewPr>
  </p:slideViewPr>
  <p:outlineViewPr>
    <p:cViewPr>
      <p:scale>
        <a:sx n="33" d="100"/>
        <a:sy n="33" d="100"/>
      </p:scale>
      <p:origin x="0" y="-2688"/>
    </p:cViewPr>
  </p:outlineViewPr>
  <p:notesTextViewPr>
    <p:cViewPr>
      <p:scale>
        <a:sx n="200" d="100"/>
        <a:sy n="200" d="100"/>
      </p:scale>
      <p:origin x="0" y="0"/>
    </p:cViewPr>
  </p:notesTextViewPr>
  <p:sorterViewPr>
    <p:cViewPr varScale="1">
      <p:scale>
        <a:sx n="1" d="1"/>
        <a:sy n="1" d="1"/>
      </p:scale>
      <p:origin x="0" y="0"/>
    </p:cViewPr>
  </p:sorterViewPr>
  <p:notesViewPr>
    <p:cSldViewPr snapToGrid="0" snapToObjects="1">
      <p:cViewPr varScale="1">
        <p:scale>
          <a:sx n="66" d="100"/>
          <a:sy n="66" d="100"/>
        </p:scale>
        <p:origin x="2178" y="5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7580060549135"/>
          <c:y val="6.6738920446538619E-2"/>
          <c:w val="0.81931293288947693"/>
          <c:h val="0.86652220107470168"/>
        </c:manualLayout>
      </c:layout>
      <c:lineChart>
        <c:grouping val="standard"/>
        <c:varyColors val="0"/>
        <c:ser>
          <c:idx val="0"/>
          <c:order val="0"/>
          <c:tx>
            <c:strRef>
              <c:f>Sheet1!$B$1</c:f>
              <c:strCache>
                <c:ptCount val="1"/>
                <c:pt idx="0">
                  <c:v>Brockton</c:v>
                </c:pt>
              </c:strCache>
            </c:strRef>
          </c:tx>
          <c:spPr>
            <a:ln w="19050" cap="rnd">
              <a:solidFill>
                <a:schemeClr val="accent1"/>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B$32:$B$132</c:f>
              <c:numCache>
                <c:formatCode>0</c:formatCode>
                <c:ptCount val="101"/>
                <c:pt idx="0">
                  <c:v>540.54775000000006</c:v>
                </c:pt>
                <c:pt idx="1">
                  <c:v>617.87425000000007</c:v>
                </c:pt>
                <c:pt idx="2">
                  <c:v>600.81775000000005</c:v>
                </c:pt>
                <c:pt idx="3">
                  <c:v>600.81775000000005</c:v>
                </c:pt>
                <c:pt idx="4">
                  <c:v>642.09424999999999</c:v>
                </c:pt>
                <c:pt idx="5">
                  <c:v>642.09424999999999</c:v>
                </c:pt>
                <c:pt idx="6">
                  <c:v>642.09424999999999</c:v>
                </c:pt>
                <c:pt idx="7">
                  <c:v>677.33225000000004</c:v>
                </c:pt>
                <c:pt idx="8">
                  <c:v>737.44349999999997</c:v>
                </c:pt>
                <c:pt idx="9">
                  <c:v>1016.72325</c:v>
                </c:pt>
                <c:pt idx="10">
                  <c:v>1016.72325</c:v>
                </c:pt>
                <c:pt idx="11">
                  <c:v>834.95799999999997</c:v>
                </c:pt>
                <c:pt idx="12">
                  <c:v>834.95799999999997</c:v>
                </c:pt>
                <c:pt idx="13">
                  <c:v>834.95799999999997</c:v>
                </c:pt>
                <c:pt idx="14">
                  <c:v>1106.2595000000001</c:v>
                </c:pt>
                <c:pt idx="15">
                  <c:v>1143.89375</c:v>
                </c:pt>
                <c:pt idx="16">
                  <c:v>980.22524999999996</c:v>
                </c:pt>
                <c:pt idx="17">
                  <c:v>980.22524999999996</c:v>
                </c:pt>
                <c:pt idx="18">
                  <c:v>1119.4514999999999</c:v>
                </c:pt>
                <c:pt idx="19">
                  <c:v>1119.4514999999999</c:v>
                </c:pt>
                <c:pt idx="20">
                  <c:v>1119.4514999999999</c:v>
                </c:pt>
                <c:pt idx="21">
                  <c:v>804.17949999999996</c:v>
                </c:pt>
                <c:pt idx="22">
                  <c:v>778.19049999999993</c:v>
                </c:pt>
                <c:pt idx="23">
                  <c:v>847.66824999999994</c:v>
                </c:pt>
                <c:pt idx="24">
                  <c:v>847.66824999999994</c:v>
                </c:pt>
                <c:pt idx="25">
                  <c:v>862.94200000000001</c:v>
                </c:pt>
                <c:pt idx="26">
                  <c:v>862.94200000000001</c:v>
                </c:pt>
                <c:pt idx="27">
                  <c:v>862.94200000000001</c:v>
                </c:pt>
                <c:pt idx="28">
                  <c:v>1010.3755</c:v>
                </c:pt>
                <c:pt idx="29">
                  <c:v>1229.6905000000002</c:v>
                </c:pt>
                <c:pt idx="30">
                  <c:v>957.9085</c:v>
                </c:pt>
                <c:pt idx="31">
                  <c:v>957.9085</c:v>
                </c:pt>
                <c:pt idx="32">
                  <c:v>940.09433333333334</c:v>
                </c:pt>
                <c:pt idx="33">
                  <c:v>940.09433333333334</c:v>
                </c:pt>
                <c:pt idx="34">
                  <c:v>940.09433333333334</c:v>
                </c:pt>
                <c:pt idx="35">
                  <c:v>974.09099999999989</c:v>
                </c:pt>
                <c:pt idx="36">
                  <c:v>866.17724999999996</c:v>
                </c:pt>
                <c:pt idx="37">
                  <c:v>817.66249999999991</c:v>
                </c:pt>
                <c:pt idx="38">
                  <c:v>817.66249999999991</c:v>
                </c:pt>
                <c:pt idx="39">
                  <c:v>782.78425000000004</c:v>
                </c:pt>
                <c:pt idx="40">
                  <c:v>782.78425000000004</c:v>
                </c:pt>
                <c:pt idx="41">
                  <c:v>782.78425000000004</c:v>
                </c:pt>
                <c:pt idx="42">
                  <c:v>630.6875</c:v>
                </c:pt>
                <c:pt idx="43">
                  <c:v>588.21499999999992</c:v>
                </c:pt>
                <c:pt idx="44">
                  <c:v>589.20450000000005</c:v>
                </c:pt>
                <c:pt idx="45">
                  <c:v>589.20450000000005</c:v>
                </c:pt>
                <c:pt idx="46">
                  <c:v>549.84</c:v>
                </c:pt>
                <c:pt idx="47">
                  <c:v>549.84</c:v>
                </c:pt>
                <c:pt idx="48">
                  <c:v>549.84</c:v>
                </c:pt>
                <c:pt idx="49">
                  <c:v>577.22200000000009</c:v>
                </c:pt>
                <c:pt idx="50">
                  <c:v>600.07850000000008</c:v>
                </c:pt>
                <c:pt idx="51">
                  <c:v>607.495</c:v>
                </c:pt>
                <c:pt idx="52">
                  <c:v>607.495</c:v>
                </c:pt>
                <c:pt idx="53">
                  <c:v>1385.979</c:v>
                </c:pt>
                <c:pt idx="54">
                  <c:v>1385.979</c:v>
                </c:pt>
                <c:pt idx="55">
                  <c:v>1385.979</c:v>
                </c:pt>
                <c:pt idx="56">
                  <c:v>1067.606</c:v>
                </c:pt>
                <c:pt idx="57">
                  <c:v>1024.7046666666668</c:v>
                </c:pt>
                <c:pt idx="58">
                  <c:v>943.96825000000001</c:v>
                </c:pt>
                <c:pt idx="59">
                  <c:v>943.96825000000001</c:v>
                </c:pt>
                <c:pt idx="60">
                  <c:v>840.47350000000006</c:v>
                </c:pt>
                <c:pt idx="61">
                  <c:v>840.47350000000006</c:v>
                </c:pt>
                <c:pt idx="62">
                  <c:v>840.47350000000006</c:v>
                </c:pt>
                <c:pt idx="63">
                  <c:v>870.88700000000006</c:v>
                </c:pt>
                <c:pt idx="64">
                  <c:v>1148.5636666666667</c:v>
                </c:pt>
                <c:pt idx="65">
                  <c:v>2118.8386666666665</c:v>
                </c:pt>
                <c:pt idx="66">
                  <c:v>2118.8386666666665</c:v>
                </c:pt>
                <c:pt idx="67">
                  <c:v>2127.9283333333333</c:v>
                </c:pt>
                <c:pt idx="68">
                  <c:v>2127.9283333333333</c:v>
                </c:pt>
                <c:pt idx="69">
                  <c:v>2127.9283333333333</c:v>
                </c:pt>
                <c:pt idx="70">
                  <c:v>2668.2735000000002</c:v>
                </c:pt>
                <c:pt idx="71">
                  <c:v>2355.8607499999998</c:v>
                </c:pt>
                <c:pt idx="72">
                  <c:v>1851.4115000000002</c:v>
                </c:pt>
                <c:pt idx="73">
                  <c:v>1851.4115000000002</c:v>
                </c:pt>
                <c:pt idx="74">
                  <c:v>1801.7237500000001</c:v>
                </c:pt>
                <c:pt idx="75">
                  <c:v>1801.7237500000001</c:v>
                </c:pt>
                <c:pt idx="76">
                  <c:v>1801.7237500000001</c:v>
                </c:pt>
                <c:pt idx="77">
                  <c:v>1042.8455000000001</c:v>
                </c:pt>
                <c:pt idx="78">
                  <c:v>1277.4640000000002</c:v>
                </c:pt>
                <c:pt idx="79">
                  <c:v>1161.6347500000002</c:v>
                </c:pt>
                <c:pt idx="80">
                  <c:v>1161.6347500000002</c:v>
                </c:pt>
                <c:pt idx="81">
                  <c:v>1370.54475</c:v>
                </c:pt>
                <c:pt idx="82">
                  <c:v>1370.54475</c:v>
                </c:pt>
                <c:pt idx="83">
                  <c:v>1370.54475</c:v>
                </c:pt>
                <c:pt idx="84">
                  <c:v>1418.34575</c:v>
                </c:pt>
                <c:pt idx="85">
                  <c:v>1496.0197499999999</c:v>
                </c:pt>
                <c:pt idx="86">
                  <c:v>1524.221</c:v>
                </c:pt>
                <c:pt idx="87">
                  <c:v>1524.221</c:v>
                </c:pt>
                <c:pt idx="88">
                  <c:v>1398.1815000000001</c:v>
                </c:pt>
                <c:pt idx="89">
                  <c:v>1398.1815000000001</c:v>
                </c:pt>
                <c:pt idx="90">
                  <c:v>1398.1815000000001</c:v>
                </c:pt>
                <c:pt idx="91">
                  <c:v>1423.6815000000001</c:v>
                </c:pt>
                <c:pt idx="92">
                  <c:v>1488.9963080000002</c:v>
                </c:pt>
                <c:pt idx="93">
                  <c:v>1575.13822</c:v>
                </c:pt>
                <c:pt idx="94">
                  <c:v>1575.13822</c:v>
                </c:pt>
                <c:pt idx="95">
                  <c:v>1510.1363144500001</c:v>
                </c:pt>
                <c:pt idx="96">
                  <c:v>1510.1363144500001</c:v>
                </c:pt>
                <c:pt idx="97">
                  <c:v>1510.1363144500001</c:v>
                </c:pt>
                <c:pt idx="98">
                  <c:v>1433.7031817</c:v>
                </c:pt>
                <c:pt idx="99">
                  <c:v>1234.1719569333334</c:v>
                </c:pt>
                <c:pt idx="100">
                  <c:v>1056.8363874000001</c:v>
                </c:pt>
              </c:numCache>
            </c:numRef>
          </c:val>
          <c:smooth val="1"/>
          <c:extLst>
            <c:ext xmlns:c16="http://schemas.microsoft.com/office/drawing/2014/chart" uri="{C3380CC4-5D6E-409C-BE32-E72D297353CC}">
              <c16:uniqueId val="{00000000-2521-4704-8001-83623E5F1097}"/>
            </c:ext>
          </c:extLst>
        </c:ser>
        <c:ser>
          <c:idx val="1"/>
          <c:order val="1"/>
          <c:tx>
            <c:strRef>
              <c:f>Sheet1!$C$1</c:f>
              <c:strCache>
                <c:ptCount val="1"/>
                <c:pt idx="0">
                  <c:v>Hull</c:v>
                </c:pt>
              </c:strCache>
            </c:strRef>
          </c:tx>
          <c:spPr>
            <a:ln w="19050" cap="rnd">
              <a:solidFill>
                <a:schemeClr val="bg2">
                  <a:lumMod val="75000"/>
                </a:schemeClr>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C$32:$C$132</c:f>
              <c:numCache>
                <c:formatCode>0</c:formatCode>
                <c:ptCount val="101"/>
                <c:pt idx="0">
                  <c:v>493.98733333333331</c:v>
                </c:pt>
                <c:pt idx="1">
                  <c:v>493.98733333333331</c:v>
                </c:pt>
                <c:pt idx="2">
                  <c:v>936.90833333333342</c:v>
                </c:pt>
                <c:pt idx="3">
                  <c:v>1281.7813333333334</c:v>
                </c:pt>
                <c:pt idx="4">
                  <c:v>1857.1033333333332</c:v>
                </c:pt>
                <c:pt idx="5">
                  <c:v>1857.1033333333332</c:v>
                </c:pt>
                <c:pt idx="6">
                  <c:v>1857.1033333333332</c:v>
                </c:pt>
                <c:pt idx="7">
                  <c:v>1857.1033333333332</c:v>
                </c:pt>
                <c:pt idx="8">
                  <c:v>1857.1033333333332</c:v>
                </c:pt>
                <c:pt idx="9">
                  <c:v>1982.8823333333332</c:v>
                </c:pt>
                <c:pt idx="10">
                  <c:v>2214.8223333333335</c:v>
                </c:pt>
                <c:pt idx="11">
                  <c:v>2023.0426666666669</c:v>
                </c:pt>
                <c:pt idx="12">
                  <c:v>2023.0426666666669</c:v>
                </c:pt>
                <c:pt idx="13">
                  <c:v>2023.0426666666669</c:v>
                </c:pt>
                <c:pt idx="14">
                  <c:v>2023.0426666666669</c:v>
                </c:pt>
                <c:pt idx="15">
                  <c:v>2023.0426666666669</c:v>
                </c:pt>
                <c:pt idx="16">
                  <c:v>1748.5356666666667</c:v>
                </c:pt>
                <c:pt idx="17">
                  <c:v>1694.9696666666666</c:v>
                </c:pt>
                <c:pt idx="18">
                  <c:v>1638.7126666666666</c:v>
                </c:pt>
                <c:pt idx="19">
                  <c:v>1638.7126666666666</c:v>
                </c:pt>
                <c:pt idx="20">
                  <c:v>1638.7126666666666</c:v>
                </c:pt>
                <c:pt idx="21">
                  <c:v>1638.7126666666666</c:v>
                </c:pt>
                <c:pt idx="22">
                  <c:v>1638.7126666666666</c:v>
                </c:pt>
                <c:pt idx="23">
                  <c:v>1604.7266666666667</c:v>
                </c:pt>
                <c:pt idx="24">
                  <c:v>1738.7266666666667</c:v>
                </c:pt>
                <c:pt idx="25">
                  <c:v>2097.0229999999997</c:v>
                </c:pt>
                <c:pt idx="26">
                  <c:v>2097.0229999999997</c:v>
                </c:pt>
                <c:pt idx="27">
                  <c:v>2097.0229999999997</c:v>
                </c:pt>
                <c:pt idx="28">
                  <c:v>2097.0229999999997</c:v>
                </c:pt>
                <c:pt idx="29">
                  <c:v>2097.0229999999997</c:v>
                </c:pt>
                <c:pt idx="30">
                  <c:v>2063.9553333333333</c:v>
                </c:pt>
                <c:pt idx="31">
                  <c:v>1726.5219999999999</c:v>
                </c:pt>
                <c:pt idx="32">
                  <c:v>1805.809</c:v>
                </c:pt>
                <c:pt idx="33">
                  <c:v>1805.809</c:v>
                </c:pt>
                <c:pt idx="34">
                  <c:v>1805.809</c:v>
                </c:pt>
                <c:pt idx="35">
                  <c:v>1805.809</c:v>
                </c:pt>
                <c:pt idx="36">
                  <c:v>1805.809</c:v>
                </c:pt>
                <c:pt idx="37">
                  <c:v>1796.0053333333333</c:v>
                </c:pt>
                <c:pt idx="38">
                  <c:v>1652.0166666666667</c:v>
                </c:pt>
                <c:pt idx="39">
                  <c:v>1009.0616666666666</c:v>
                </c:pt>
                <c:pt idx="40">
                  <c:v>1009.0616666666666</c:v>
                </c:pt>
                <c:pt idx="41">
                  <c:v>1009.0616666666666</c:v>
                </c:pt>
                <c:pt idx="42">
                  <c:v>1009.0616666666666</c:v>
                </c:pt>
                <c:pt idx="43">
                  <c:v>1009.0616666666666</c:v>
                </c:pt>
                <c:pt idx="44">
                  <c:v>1042.0333333333335</c:v>
                </c:pt>
                <c:pt idx="45">
                  <c:v>1018.1866666666668</c:v>
                </c:pt>
                <c:pt idx="46">
                  <c:v>1006.2809999999999</c:v>
                </c:pt>
                <c:pt idx="47">
                  <c:v>1006.2809999999999</c:v>
                </c:pt>
                <c:pt idx="48">
                  <c:v>1006.2809999999999</c:v>
                </c:pt>
                <c:pt idx="49">
                  <c:v>1006.2809999999999</c:v>
                </c:pt>
                <c:pt idx="50">
                  <c:v>1006.2809999999999</c:v>
                </c:pt>
                <c:pt idx="51">
                  <c:v>935.4375</c:v>
                </c:pt>
                <c:pt idx="52">
                  <c:v>884.17100000000005</c:v>
                </c:pt>
                <c:pt idx="58">
                  <c:v>473.113</c:v>
                </c:pt>
                <c:pt idx="59">
                  <c:v>1167.383</c:v>
                </c:pt>
                <c:pt idx="60">
                  <c:v>1076.5666666666666</c:v>
                </c:pt>
                <c:pt idx="61">
                  <c:v>1076.5666666666666</c:v>
                </c:pt>
                <c:pt idx="62">
                  <c:v>1076.5666666666666</c:v>
                </c:pt>
                <c:pt idx="63">
                  <c:v>1076.5666666666666</c:v>
                </c:pt>
                <c:pt idx="64">
                  <c:v>1076.5666666666666</c:v>
                </c:pt>
                <c:pt idx="65">
                  <c:v>1189.6763333333333</c:v>
                </c:pt>
                <c:pt idx="66">
                  <c:v>876.23599999999999</c:v>
                </c:pt>
                <c:pt idx="67">
                  <c:v>848.85566666666671</c:v>
                </c:pt>
                <c:pt idx="68">
                  <c:v>848.85566666666671</c:v>
                </c:pt>
                <c:pt idx="69">
                  <c:v>848.85566666666671</c:v>
                </c:pt>
                <c:pt idx="70">
                  <c:v>848.85566666666671</c:v>
                </c:pt>
                <c:pt idx="71">
                  <c:v>848.85566666666671</c:v>
                </c:pt>
                <c:pt idx="72">
                  <c:v>1157.665</c:v>
                </c:pt>
                <c:pt idx="73">
                  <c:v>1255.2313333333334</c:v>
                </c:pt>
                <c:pt idx="74">
                  <c:v>1580.2353333333333</c:v>
                </c:pt>
                <c:pt idx="75">
                  <c:v>1580.2353333333333</c:v>
                </c:pt>
                <c:pt idx="76">
                  <c:v>1580.2353333333333</c:v>
                </c:pt>
                <c:pt idx="77">
                  <c:v>1580.2353333333333</c:v>
                </c:pt>
                <c:pt idx="78">
                  <c:v>1580.2353333333333</c:v>
                </c:pt>
                <c:pt idx="79">
                  <c:v>1299.7316666666668</c:v>
                </c:pt>
                <c:pt idx="80">
                  <c:v>1121.9516666666668</c:v>
                </c:pt>
                <c:pt idx="81">
                  <c:v>1178.3536666666666</c:v>
                </c:pt>
                <c:pt idx="82">
                  <c:v>1178.3536666666666</c:v>
                </c:pt>
                <c:pt idx="83">
                  <c:v>1178.3536666666666</c:v>
                </c:pt>
                <c:pt idx="84">
                  <c:v>1178.3536666666666</c:v>
                </c:pt>
                <c:pt idx="85">
                  <c:v>1178.3536666666666</c:v>
                </c:pt>
                <c:pt idx="86">
                  <c:v>1044.5163333333333</c:v>
                </c:pt>
                <c:pt idx="87">
                  <c:v>1277.7526666666668</c:v>
                </c:pt>
                <c:pt idx="88">
                  <c:v>923.41566666666677</c:v>
                </c:pt>
                <c:pt idx="89">
                  <c:v>923.41566666666677</c:v>
                </c:pt>
                <c:pt idx="90">
                  <c:v>923.41566666666677</c:v>
                </c:pt>
                <c:pt idx="91">
                  <c:v>923.41566666666677</c:v>
                </c:pt>
                <c:pt idx="92">
                  <c:v>923.6711196</c:v>
                </c:pt>
                <c:pt idx="93">
                  <c:v>1171.2323393000001</c:v>
                </c:pt>
                <c:pt idx="94">
                  <c:v>1195.3266836333335</c:v>
                </c:pt>
                <c:pt idx="95">
                  <c:v>1404.6607329999999</c:v>
                </c:pt>
                <c:pt idx="96">
                  <c:v>1404.6607329999999</c:v>
                </c:pt>
                <c:pt idx="97">
                  <c:v>1404.6607329999999</c:v>
                </c:pt>
                <c:pt idx="98">
                  <c:v>1404.6607329999999</c:v>
                </c:pt>
                <c:pt idx="99">
                  <c:v>1404.6607329999999</c:v>
                </c:pt>
                <c:pt idx="100">
                  <c:v>1487.725549</c:v>
                </c:pt>
              </c:numCache>
            </c:numRef>
          </c:val>
          <c:smooth val="1"/>
          <c:extLst>
            <c:ext xmlns:c16="http://schemas.microsoft.com/office/drawing/2014/chart" uri="{C3380CC4-5D6E-409C-BE32-E72D297353CC}">
              <c16:uniqueId val="{00000001-2521-4704-8001-83623E5F1097}"/>
            </c:ext>
          </c:extLst>
        </c:ser>
        <c:ser>
          <c:idx val="2"/>
          <c:order val="2"/>
          <c:tx>
            <c:strRef>
              <c:f>Sheet1!$D$1</c:f>
              <c:strCache>
                <c:ptCount val="1"/>
                <c:pt idx="0">
                  <c:v>Fall River</c:v>
                </c:pt>
              </c:strCache>
            </c:strRef>
          </c:tx>
          <c:spPr>
            <a:ln w="15875" cap="rnd">
              <a:solidFill>
                <a:schemeClr val="accent2"/>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D$32:$D$132</c:f>
              <c:numCache>
                <c:formatCode>General</c:formatCode>
                <c:ptCount val="101"/>
              </c:numCache>
            </c:numRef>
          </c:val>
          <c:smooth val="1"/>
          <c:extLst>
            <c:ext xmlns:c16="http://schemas.microsoft.com/office/drawing/2014/chart" uri="{C3380CC4-5D6E-409C-BE32-E72D297353CC}">
              <c16:uniqueId val="{00000002-2521-4704-8001-83623E5F1097}"/>
            </c:ext>
          </c:extLst>
        </c:ser>
        <c:ser>
          <c:idx val="3"/>
          <c:order val="3"/>
          <c:tx>
            <c:strRef>
              <c:f>Sheet1!$E$1</c:f>
              <c:strCache>
                <c:ptCount val="1"/>
                <c:pt idx="0">
                  <c:v>Plymouth</c:v>
                </c:pt>
              </c:strCache>
            </c:strRef>
          </c:tx>
          <c:spPr>
            <a:ln w="19050" cap="rnd">
              <a:solidFill>
                <a:schemeClr val="accent5"/>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E$32:$E$132</c:f>
              <c:numCache>
                <c:formatCode>0</c:formatCode>
                <c:ptCount val="101"/>
                <c:pt idx="0">
                  <c:v>382.93600000000004</c:v>
                </c:pt>
                <c:pt idx="1">
                  <c:v>551.73733333333337</c:v>
                </c:pt>
                <c:pt idx="2">
                  <c:v>740.5003333333334</c:v>
                </c:pt>
                <c:pt idx="3">
                  <c:v>684.80425000000002</c:v>
                </c:pt>
                <c:pt idx="4">
                  <c:v>660.0634</c:v>
                </c:pt>
                <c:pt idx="5">
                  <c:v>737.923</c:v>
                </c:pt>
                <c:pt idx="6">
                  <c:v>737.923</c:v>
                </c:pt>
                <c:pt idx="7">
                  <c:v>737.923</c:v>
                </c:pt>
                <c:pt idx="8">
                  <c:v>1307.742</c:v>
                </c:pt>
                <c:pt idx="9">
                  <c:v>1231.0605</c:v>
                </c:pt>
                <c:pt idx="10">
                  <c:v>1468.8419999999999</c:v>
                </c:pt>
                <c:pt idx="11">
                  <c:v>1543.251</c:v>
                </c:pt>
                <c:pt idx="12">
                  <c:v>1543.251</c:v>
                </c:pt>
                <c:pt idx="13">
                  <c:v>1543.251</c:v>
                </c:pt>
                <c:pt idx="14">
                  <c:v>1543.251</c:v>
                </c:pt>
                <c:pt idx="15">
                  <c:v>759.79899999999998</c:v>
                </c:pt>
                <c:pt idx="16">
                  <c:v>854.82566666666662</c:v>
                </c:pt>
                <c:pt idx="17">
                  <c:v>854.82566666666662</c:v>
                </c:pt>
                <c:pt idx="18">
                  <c:v>890.07500000000005</c:v>
                </c:pt>
                <c:pt idx="19">
                  <c:v>890.07500000000005</c:v>
                </c:pt>
                <c:pt idx="20">
                  <c:v>890.07500000000005</c:v>
                </c:pt>
                <c:pt idx="21">
                  <c:v>890.07500000000005</c:v>
                </c:pt>
                <c:pt idx="22">
                  <c:v>837.32500000000005</c:v>
                </c:pt>
                <c:pt idx="23">
                  <c:v>670.04649999999992</c:v>
                </c:pt>
                <c:pt idx="24">
                  <c:v>717.64133333333336</c:v>
                </c:pt>
                <c:pt idx="25">
                  <c:v>717.64133333333336</c:v>
                </c:pt>
                <c:pt idx="26">
                  <c:v>717.64133333333336</c:v>
                </c:pt>
                <c:pt idx="27">
                  <c:v>717.64133333333336</c:v>
                </c:pt>
                <c:pt idx="28">
                  <c:v>717.64133333333336</c:v>
                </c:pt>
                <c:pt idx="29">
                  <c:v>720.08199999999999</c:v>
                </c:pt>
                <c:pt idx="30">
                  <c:v>812.83100000000002</c:v>
                </c:pt>
                <c:pt idx="32">
                  <c:v>665.58399999999995</c:v>
                </c:pt>
                <c:pt idx="33">
                  <c:v>665.58399999999995</c:v>
                </c:pt>
                <c:pt idx="34">
                  <c:v>665.58399999999995</c:v>
                </c:pt>
                <c:pt idx="35">
                  <c:v>665.58399999999995</c:v>
                </c:pt>
                <c:pt idx="36">
                  <c:v>613.37899999999991</c:v>
                </c:pt>
                <c:pt idx="37">
                  <c:v>564.65933333333328</c:v>
                </c:pt>
                <c:pt idx="38">
                  <c:v>558.81849999999997</c:v>
                </c:pt>
                <c:pt idx="39">
                  <c:v>487.72</c:v>
                </c:pt>
                <c:pt idx="40">
                  <c:v>487.72</c:v>
                </c:pt>
                <c:pt idx="41">
                  <c:v>487.72</c:v>
                </c:pt>
                <c:pt idx="42">
                  <c:v>487.72</c:v>
                </c:pt>
                <c:pt idx="43">
                  <c:v>463.23533333333336</c:v>
                </c:pt>
                <c:pt idx="44">
                  <c:v>461.24300000000005</c:v>
                </c:pt>
                <c:pt idx="45">
                  <c:v>381.19</c:v>
                </c:pt>
                <c:pt idx="46">
                  <c:v>363.20600000000002</c:v>
                </c:pt>
                <c:pt idx="47">
                  <c:v>363.20600000000002</c:v>
                </c:pt>
                <c:pt idx="48">
                  <c:v>363.20600000000002</c:v>
                </c:pt>
                <c:pt idx="49">
                  <c:v>363.20600000000002</c:v>
                </c:pt>
                <c:pt idx="50">
                  <c:v>363.20600000000002</c:v>
                </c:pt>
                <c:pt idx="51">
                  <c:v>363.20600000000002</c:v>
                </c:pt>
                <c:pt idx="52">
                  <c:v>363.20600000000002</c:v>
                </c:pt>
                <c:pt idx="57">
                  <c:v>396.92200000000003</c:v>
                </c:pt>
                <c:pt idx="58">
                  <c:v>416.13499999999999</c:v>
                </c:pt>
                <c:pt idx="59">
                  <c:v>403.52966666666663</c:v>
                </c:pt>
                <c:pt idx="60">
                  <c:v>403.52966666666663</c:v>
                </c:pt>
                <c:pt idx="61">
                  <c:v>403.52966666666663</c:v>
                </c:pt>
                <c:pt idx="62">
                  <c:v>403.52966666666663</c:v>
                </c:pt>
                <c:pt idx="63">
                  <c:v>403.52966666666663</c:v>
                </c:pt>
                <c:pt idx="64">
                  <c:v>406.83350000000002</c:v>
                </c:pt>
                <c:pt idx="65">
                  <c:v>378.31900000000002</c:v>
                </c:pt>
                <c:pt idx="66">
                  <c:v>736.99699999999996</c:v>
                </c:pt>
                <c:pt idx="67">
                  <c:v>577</c:v>
                </c:pt>
                <c:pt idx="68">
                  <c:v>577.37249999999995</c:v>
                </c:pt>
                <c:pt idx="69">
                  <c:v>577.37249999999995</c:v>
                </c:pt>
                <c:pt idx="70">
                  <c:v>577.37249999999995</c:v>
                </c:pt>
                <c:pt idx="71">
                  <c:v>577.37249999999995</c:v>
                </c:pt>
                <c:pt idx="72">
                  <c:v>577.37249999999995</c:v>
                </c:pt>
                <c:pt idx="73">
                  <c:v>263.90699999999998</c:v>
                </c:pt>
                <c:pt idx="74">
                  <c:v>110.066</c:v>
                </c:pt>
                <c:pt idx="75">
                  <c:v>110.066</c:v>
                </c:pt>
                <c:pt idx="76">
                  <c:v>110.066</c:v>
                </c:pt>
                <c:pt idx="77">
                  <c:v>110.066</c:v>
                </c:pt>
                <c:pt idx="78">
                  <c:v>414.03300000000002</c:v>
                </c:pt>
                <c:pt idx="79">
                  <c:v>376.71966666666668</c:v>
                </c:pt>
                <c:pt idx="80">
                  <c:v>510.04650000000004</c:v>
                </c:pt>
                <c:pt idx="81">
                  <c:v>651.72733333333338</c:v>
                </c:pt>
                <c:pt idx="82">
                  <c:v>651.72733333333338</c:v>
                </c:pt>
                <c:pt idx="83">
                  <c:v>651.72733333333338</c:v>
                </c:pt>
                <c:pt idx="84">
                  <c:v>651.72733333333338</c:v>
                </c:pt>
                <c:pt idx="85">
                  <c:v>618.54849999999999</c:v>
                </c:pt>
                <c:pt idx="86">
                  <c:v>857.05899999999997</c:v>
                </c:pt>
                <c:pt idx="87">
                  <c:v>857.05899999999997</c:v>
                </c:pt>
                <c:pt idx="88">
                  <c:v>1243.0145</c:v>
                </c:pt>
                <c:pt idx="89">
                  <c:v>1243.0145</c:v>
                </c:pt>
                <c:pt idx="90">
                  <c:v>1243.0145</c:v>
                </c:pt>
                <c:pt idx="91">
                  <c:v>1243.0145</c:v>
                </c:pt>
                <c:pt idx="92">
                  <c:v>1224.0013653999999</c:v>
                </c:pt>
                <c:pt idx="93">
                  <c:v>1446.4876644999999</c:v>
                </c:pt>
                <c:pt idx="94">
                  <c:v>1291.8943784999999</c:v>
                </c:pt>
                <c:pt idx="95">
                  <c:v>1084.1352897500001</c:v>
                </c:pt>
                <c:pt idx="96">
                  <c:v>1098.0870161666669</c:v>
                </c:pt>
                <c:pt idx="97">
                  <c:v>1098.0870161666669</c:v>
                </c:pt>
                <c:pt idx="98">
                  <c:v>1098.0870161666669</c:v>
                </c:pt>
                <c:pt idx="99">
                  <c:v>1054.34913775</c:v>
                </c:pt>
                <c:pt idx="100">
                  <c:v>1054.34913775</c:v>
                </c:pt>
              </c:numCache>
            </c:numRef>
          </c:val>
          <c:smooth val="1"/>
          <c:extLst>
            <c:ext xmlns:c16="http://schemas.microsoft.com/office/drawing/2014/chart" uri="{C3380CC4-5D6E-409C-BE32-E72D297353CC}">
              <c16:uniqueId val="{00000003-2521-4704-8001-83623E5F1097}"/>
            </c:ext>
          </c:extLst>
        </c:ser>
        <c:ser>
          <c:idx val="4"/>
          <c:order val="4"/>
          <c:tx>
            <c:strRef>
              <c:f>Sheet1!$F$1</c:f>
              <c:strCache>
                <c:ptCount val="1"/>
                <c:pt idx="0">
                  <c:v>Provincetown</c:v>
                </c:pt>
              </c:strCache>
            </c:strRef>
          </c:tx>
          <c:spPr>
            <a:ln w="19050" cap="rnd">
              <a:solidFill>
                <a:schemeClr val="accent6"/>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F$32:$F$132</c:f>
              <c:numCache>
                <c:formatCode>0</c:formatCode>
                <c:ptCount val="101"/>
                <c:pt idx="0">
                  <c:v>1320.6409999999998</c:v>
                </c:pt>
                <c:pt idx="1">
                  <c:v>1320.6409999999998</c:v>
                </c:pt>
                <c:pt idx="2">
                  <c:v>1448.5964999999999</c:v>
                </c:pt>
                <c:pt idx="3">
                  <c:v>1492.2329999999999</c:v>
                </c:pt>
                <c:pt idx="4">
                  <c:v>1648.6316666666669</c:v>
                </c:pt>
                <c:pt idx="5">
                  <c:v>1648.6316666666669</c:v>
                </c:pt>
                <c:pt idx="6">
                  <c:v>1648.6316666666669</c:v>
                </c:pt>
                <c:pt idx="7">
                  <c:v>2007.9933333333331</c:v>
                </c:pt>
                <c:pt idx="8">
                  <c:v>2007.9933333333331</c:v>
                </c:pt>
                <c:pt idx="9">
                  <c:v>2395.3216666666667</c:v>
                </c:pt>
                <c:pt idx="10">
                  <c:v>2395.3216666666667</c:v>
                </c:pt>
                <c:pt idx="11">
                  <c:v>4286.0010000000002</c:v>
                </c:pt>
                <c:pt idx="12">
                  <c:v>4286.0010000000002</c:v>
                </c:pt>
                <c:pt idx="13">
                  <c:v>4286.0010000000002</c:v>
                </c:pt>
                <c:pt idx="14">
                  <c:v>3791.0493333333329</c:v>
                </c:pt>
                <c:pt idx="15">
                  <c:v>3791.0493333333329</c:v>
                </c:pt>
                <c:pt idx="16">
                  <c:v>3080.0050000000006</c:v>
                </c:pt>
                <c:pt idx="17">
                  <c:v>3080.0050000000006</c:v>
                </c:pt>
                <c:pt idx="18">
                  <c:v>854.82399999999996</c:v>
                </c:pt>
                <c:pt idx="19">
                  <c:v>854.82399999999996</c:v>
                </c:pt>
                <c:pt idx="20">
                  <c:v>854.82399999999996</c:v>
                </c:pt>
                <c:pt idx="21">
                  <c:v>927.99900000000014</c:v>
                </c:pt>
                <c:pt idx="22">
                  <c:v>927.99900000000014</c:v>
                </c:pt>
                <c:pt idx="23">
                  <c:v>884.03766666666672</c:v>
                </c:pt>
                <c:pt idx="24">
                  <c:v>884.03766666666672</c:v>
                </c:pt>
                <c:pt idx="25">
                  <c:v>1155.7143333333333</c:v>
                </c:pt>
                <c:pt idx="26">
                  <c:v>1155.7143333333333</c:v>
                </c:pt>
                <c:pt idx="27">
                  <c:v>1155.7143333333333</c:v>
                </c:pt>
                <c:pt idx="28">
                  <c:v>1645.3426666666667</c:v>
                </c:pt>
                <c:pt idx="29">
                  <c:v>1645.3426666666667</c:v>
                </c:pt>
                <c:pt idx="30">
                  <c:v>2330.0933333333332</c:v>
                </c:pt>
                <c:pt idx="31">
                  <c:v>2330.0933333333332</c:v>
                </c:pt>
                <c:pt idx="32">
                  <c:v>2672.0239999999999</c:v>
                </c:pt>
                <c:pt idx="33">
                  <c:v>2125.9739999999997</c:v>
                </c:pt>
                <c:pt idx="34">
                  <c:v>2125.9739999999997</c:v>
                </c:pt>
                <c:pt idx="35">
                  <c:v>1616.9336666666666</c:v>
                </c:pt>
                <c:pt idx="36">
                  <c:v>1616.9336666666666</c:v>
                </c:pt>
                <c:pt idx="37">
                  <c:v>1033.559</c:v>
                </c:pt>
                <c:pt idx="38">
                  <c:v>1033.559</c:v>
                </c:pt>
                <c:pt idx="39">
                  <c:v>1033.559</c:v>
                </c:pt>
                <c:pt idx="40">
                  <c:v>1033.2439999999999</c:v>
                </c:pt>
                <c:pt idx="41">
                  <c:v>1033.2439999999999</c:v>
                </c:pt>
                <c:pt idx="42">
                  <c:v>1325.944</c:v>
                </c:pt>
                <c:pt idx="43">
                  <c:v>1325.944</c:v>
                </c:pt>
                <c:pt idx="44">
                  <c:v>1325.944</c:v>
                </c:pt>
                <c:pt idx="45">
                  <c:v>1325.944</c:v>
                </c:pt>
                <c:pt idx="46">
                  <c:v>1325.944</c:v>
                </c:pt>
                <c:pt idx="47">
                  <c:v>1325.944</c:v>
                </c:pt>
                <c:pt idx="48">
                  <c:v>1325.944</c:v>
                </c:pt>
                <c:pt idx="49">
                  <c:v>692.41899999999998</c:v>
                </c:pt>
                <c:pt idx="50">
                  <c:v>692.41899999999998</c:v>
                </c:pt>
                <c:pt idx="51">
                  <c:v>692.41899999999998</c:v>
                </c:pt>
                <c:pt idx="52">
                  <c:v>692.41899999999998</c:v>
                </c:pt>
                <c:pt idx="53">
                  <c:v>692.41899999999998</c:v>
                </c:pt>
                <c:pt idx="54">
                  <c:v>692.41899999999998</c:v>
                </c:pt>
                <c:pt idx="55">
                  <c:v>692.41899999999998</c:v>
                </c:pt>
                <c:pt idx="56">
                  <c:v>847.87699999999995</c:v>
                </c:pt>
                <c:pt idx="57">
                  <c:v>847.87699999999995</c:v>
                </c:pt>
                <c:pt idx="58">
                  <c:v>847.87699999999995</c:v>
                </c:pt>
                <c:pt idx="59">
                  <c:v>847.87699999999995</c:v>
                </c:pt>
                <c:pt idx="60">
                  <c:v>847.87699999999995</c:v>
                </c:pt>
                <c:pt idx="61">
                  <c:v>847.87699999999995</c:v>
                </c:pt>
                <c:pt idx="62">
                  <c:v>847.87699999999995</c:v>
                </c:pt>
                <c:pt idx="63">
                  <c:v>766.53300000000002</c:v>
                </c:pt>
                <c:pt idx="64">
                  <c:v>766.53300000000002</c:v>
                </c:pt>
                <c:pt idx="65">
                  <c:v>766.53300000000002</c:v>
                </c:pt>
                <c:pt idx="66">
                  <c:v>766.53300000000002</c:v>
                </c:pt>
                <c:pt idx="67">
                  <c:v>766.53300000000002</c:v>
                </c:pt>
                <c:pt idx="68">
                  <c:v>766.53300000000002</c:v>
                </c:pt>
                <c:pt idx="69">
                  <c:v>766.53300000000002</c:v>
                </c:pt>
                <c:pt idx="70">
                  <c:v>1429.683</c:v>
                </c:pt>
                <c:pt idx="71">
                  <c:v>1429.683</c:v>
                </c:pt>
                <c:pt idx="72">
                  <c:v>1429.683</c:v>
                </c:pt>
                <c:pt idx="73">
                  <c:v>1429.683</c:v>
                </c:pt>
                <c:pt idx="74">
                  <c:v>1429.683</c:v>
                </c:pt>
                <c:pt idx="75">
                  <c:v>1429.683</c:v>
                </c:pt>
                <c:pt idx="76">
                  <c:v>1429.683</c:v>
                </c:pt>
                <c:pt idx="77">
                  <c:v>3698</c:v>
                </c:pt>
                <c:pt idx="78">
                  <c:v>3697.5859999999998</c:v>
                </c:pt>
                <c:pt idx="79">
                  <c:v>3697.5859999999998</c:v>
                </c:pt>
                <c:pt idx="80">
                  <c:v>3697.5859999999998</c:v>
                </c:pt>
                <c:pt idx="81">
                  <c:v>3697.5859999999998</c:v>
                </c:pt>
                <c:pt idx="82">
                  <c:v>3697.5859999999998</c:v>
                </c:pt>
                <c:pt idx="83">
                  <c:v>3697.5859999999998</c:v>
                </c:pt>
                <c:pt idx="84">
                  <c:v>1514</c:v>
                </c:pt>
                <c:pt idx="85">
                  <c:v>1514</c:v>
                </c:pt>
                <c:pt idx="92">
                  <c:v>1017.1837929999999</c:v>
                </c:pt>
                <c:pt idx="93">
                  <c:v>1017.1837929999999</c:v>
                </c:pt>
                <c:pt idx="94">
                  <c:v>1017.1837929999999</c:v>
                </c:pt>
                <c:pt idx="95">
                  <c:v>1017.1837929999999</c:v>
                </c:pt>
                <c:pt idx="96">
                  <c:v>1017.1837929999999</c:v>
                </c:pt>
                <c:pt idx="97">
                  <c:v>1017.1837929999999</c:v>
                </c:pt>
                <c:pt idx="98">
                  <c:v>1115.669224</c:v>
                </c:pt>
                <c:pt idx="99">
                  <c:v>1115.669224</c:v>
                </c:pt>
                <c:pt idx="100">
                  <c:v>1115.669224</c:v>
                </c:pt>
              </c:numCache>
            </c:numRef>
          </c:val>
          <c:smooth val="1"/>
          <c:extLst>
            <c:ext xmlns:c16="http://schemas.microsoft.com/office/drawing/2014/chart" uri="{C3380CC4-5D6E-409C-BE32-E72D297353CC}">
              <c16:uniqueId val="{00000004-2521-4704-8001-83623E5F1097}"/>
            </c:ext>
          </c:extLst>
        </c:ser>
        <c:ser>
          <c:idx val="5"/>
          <c:order val="5"/>
          <c:tx>
            <c:strRef>
              <c:f>Sheet1!$G$1</c:f>
              <c:strCache>
                <c:ptCount val="1"/>
                <c:pt idx="0">
                  <c:v>Wareham</c:v>
                </c:pt>
              </c:strCache>
            </c:strRef>
          </c:tx>
          <c:spPr>
            <a:ln w="19050" cap="rnd">
              <a:solidFill>
                <a:srgbClr val="000066"/>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G$32:$G$132</c:f>
              <c:numCache>
                <c:formatCode>0</c:formatCode>
                <c:ptCount val="101"/>
                <c:pt idx="0">
                  <c:v>702.76650000000006</c:v>
                </c:pt>
                <c:pt idx="1">
                  <c:v>729.36649999999997</c:v>
                </c:pt>
                <c:pt idx="2">
                  <c:v>1152.54125</c:v>
                </c:pt>
                <c:pt idx="3">
                  <c:v>1393.6284999999998</c:v>
                </c:pt>
                <c:pt idx="4">
                  <c:v>1528.8542499999999</c:v>
                </c:pt>
                <c:pt idx="5">
                  <c:v>1528.8542499999999</c:v>
                </c:pt>
                <c:pt idx="6">
                  <c:v>1528.8542499999999</c:v>
                </c:pt>
                <c:pt idx="7">
                  <c:v>1528.8542499999999</c:v>
                </c:pt>
                <c:pt idx="8">
                  <c:v>1951.8224999999998</c:v>
                </c:pt>
                <c:pt idx="9">
                  <c:v>1755.6707499999998</c:v>
                </c:pt>
                <c:pt idx="10">
                  <c:v>1733.1</c:v>
                </c:pt>
                <c:pt idx="11">
                  <c:v>1837.2495000000001</c:v>
                </c:pt>
                <c:pt idx="12">
                  <c:v>1837.2495000000001</c:v>
                </c:pt>
                <c:pt idx="13">
                  <c:v>1837.2495000000001</c:v>
                </c:pt>
                <c:pt idx="14">
                  <c:v>1837.2495000000001</c:v>
                </c:pt>
                <c:pt idx="15">
                  <c:v>1545.1410000000001</c:v>
                </c:pt>
                <c:pt idx="16">
                  <c:v>1393.8697500000001</c:v>
                </c:pt>
                <c:pt idx="17">
                  <c:v>1350.095</c:v>
                </c:pt>
                <c:pt idx="18">
                  <c:v>1098.31675</c:v>
                </c:pt>
                <c:pt idx="19">
                  <c:v>1098.31675</c:v>
                </c:pt>
                <c:pt idx="20">
                  <c:v>1098.31675</c:v>
                </c:pt>
                <c:pt idx="21">
                  <c:v>1098.31675</c:v>
                </c:pt>
                <c:pt idx="22">
                  <c:v>870.12249999999995</c:v>
                </c:pt>
                <c:pt idx="23">
                  <c:v>1009.9222500000001</c:v>
                </c:pt>
                <c:pt idx="24">
                  <c:v>957.98625000000015</c:v>
                </c:pt>
                <c:pt idx="25">
                  <c:v>1194.49125</c:v>
                </c:pt>
                <c:pt idx="26">
                  <c:v>1194.49125</c:v>
                </c:pt>
                <c:pt idx="27">
                  <c:v>1194.49125</c:v>
                </c:pt>
                <c:pt idx="28">
                  <c:v>1194.49125</c:v>
                </c:pt>
                <c:pt idx="29">
                  <c:v>1432.0043333333333</c:v>
                </c:pt>
                <c:pt idx="30">
                  <c:v>1191.92</c:v>
                </c:pt>
                <c:pt idx="31">
                  <c:v>1090.2386666666666</c:v>
                </c:pt>
                <c:pt idx="32">
                  <c:v>865.36299999999994</c:v>
                </c:pt>
                <c:pt idx="33">
                  <c:v>865.36299999999994</c:v>
                </c:pt>
                <c:pt idx="34">
                  <c:v>865.36299999999994</c:v>
                </c:pt>
                <c:pt idx="35">
                  <c:v>865.36299999999994</c:v>
                </c:pt>
                <c:pt idx="36">
                  <c:v>845.59950000000003</c:v>
                </c:pt>
                <c:pt idx="37">
                  <c:v>759.77575000000013</c:v>
                </c:pt>
                <c:pt idx="38">
                  <c:v>728.51099999999997</c:v>
                </c:pt>
                <c:pt idx="39">
                  <c:v>589.25450000000001</c:v>
                </c:pt>
                <c:pt idx="40">
                  <c:v>589.25450000000001</c:v>
                </c:pt>
                <c:pt idx="41">
                  <c:v>589.25450000000001</c:v>
                </c:pt>
                <c:pt idx="42">
                  <c:v>589.25450000000001</c:v>
                </c:pt>
                <c:pt idx="43">
                  <c:v>700.2650000000001</c:v>
                </c:pt>
                <c:pt idx="44">
                  <c:v>817.52125000000001</c:v>
                </c:pt>
                <c:pt idx="45">
                  <c:v>818.07075000000009</c:v>
                </c:pt>
                <c:pt idx="46">
                  <c:v>826.56750000000011</c:v>
                </c:pt>
                <c:pt idx="47">
                  <c:v>826.56750000000011</c:v>
                </c:pt>
                <c:pt idx="48">
                  <c:v>826.56750000000011</c:v>
                </c:pt>
                <c:pt idx="49">
                  <c:v>826.56750000000011</c:v>
                </c:pt>
                <c:pt idx="50">
                  <c:v>691.97299999999996</c:v>
                </c:pt>
                <c:pt idx="51">
                  <c:v>603.84749999999997</c:v>
                </c:pt>
                <c:pt idx="52">
                  <c:v>669.43799999999999</c:v>
                </c:pt>
                <c:pt idx="57">
                  <c:v>1388.2090000000001</c:v>
                </c:pt>
                <c:pt idx="58">
                  <c:v>986.92150000000004</c:v>
                </c:pt>
                <c:pt idx="59">
                  <c:v>869.10766666666677</c:v>
                </c:pt>
                <c:pt idx="60">
                  <c:v>794.72525000000007</c:v>
                </c:pt>
                <c:pt idx="61">
                  <c:v>794.72525000000007</c:v>
                </c:pt>
                <c:pt idx="62">
                  <c:v>794.72525000000007</c:v>
                </c:pt>
                <c:pt idx="63">
                  <c:v>794.72525000000007</c:v>
                </c:pt>
                <c:pt idx="64">
                  <c:v>596.89733333333334</c:v>
                </c:pt>
                <c:pt idx="65">
                  <c:v>748.44466666666665</c:v>
                </c:pt>
                <c:pt idx="66">
                  <c:v>840.75300000000004</c:v>
                </c:pt>
                <c:pt idx="67">
                  <c:v>1112.0550000000001</c:v>
                </c:pt>
                <c:pt idx="68">
                  <c:v>1112.0550000000001</c:v>
                </c:pt>
                <c:pt idx="69">
                  <c:v>1112.0550000000001</c:v>
                </c:pt>
                <c:pt idx="70">
                  <c:v>1112.0550000000001</c:v>
                </c:pt>
                <c:pt idx="71">
                  <c:v>946.79124999999999</c:v>
                </c:pt>
                <c:pt idx="72">
                  <c:v>1065.2065</c:v>
                </c:pt>
                <c:pt idx="73">
                  <c:v>1298.0252500000001</c:v>
                </c:pt>
                <c:pt idx="74">
                  <c:v>1169.8235</c:v>
                </c:pt>
                <c:pt idx="75">
                  <c:v>1169.8235</c:v>
                </c:pt>
                <c:pt idx="76">
                  <c:v>1169.8235</c:v>
                </c:pt>
                <c:pt idx="77">
                  <c:v>1169.8235</c:v>
                </c:pt>
                <c:pt idx="78">
                  <c:v>1504.3240000000001</c:v>
                </c:pt>
                <c:pt idx="79">
                  <c:v>1311.0674999999999</c:v>
                </c:pt>
                <c:pt idx="80">
                  <c:v>997.22649999999999</c:v>
                </c:pt>
                <c:pt idx="81">
                  <c:v>1038.7430000000002</c:v>
                </c:pt>
                <c:pt idx="82">
                  <c:v>1195.37275</c:v>
                </c:pt>
                <c:pt idx="83">
                  <c:v>1195.37275</c:v>
                </c:pt>
                <c:pt idx="84">
                  <c:v>1195.37275</c:v>
                </c:pt>
                <c:pt idx="85">
                  <c:v>1065.6175000000001</c:v>
                </c:pt>
                <c:pt idx="86">
                  <c:v>1080.91075</c:v>
                </c:pt>
                <c:pt idx="87">
                  <c:v>1287.6999999999998</c:v>
                </c:pt>
                <c:pt idx="88">
                  <c:v>1222.9599999999998</c:v>
                </c:pt>
                <c:pt idx="89">
                  <c:v>1112.3845000000001</c:v>
                </c:pt>
                <c:pt idx="90">
                  <c:v>1112.3845000000001</c:v>
                </c:pt>
                <c:pt idx="91">
                  <c:v>1112.3845000000001</c:v>
                </c:pt>
                <c:pt idx="92">
                  <c:v>976.93931772500002</c:v>
                </c:pt>
                <c:pt idx="93">
                  <c:v>886.00325369999996</c:v>
                </c:pt>
                <c:pt idx="94">
                  <c:v>708.803857225</c:v>
                </c:pt>
                <c:pt idx="95">
                  <c:v>670.86796482499994</c:v>
                </c:pt>
                <c:pt idx="96">
                  <c:v>670.86796482499994</c:v>
                </c:pt>
                <c:pt idx="97">
                  <c:v>670.86796482499994</c:v>
                </c:pt>
                <c:pt idx="98">
                  <c:v>670.86796482499994</c:v>
                </c:pt>
                <c:pt idx="99">
                  <c:v>583.88681242500002</c:v>
                </c:pt>
                <c:pt idx="100">
                  <c:v>632.4088062666666</c:v>
                </c:pt>
              </c:numCache>
            </c:numRef>
          </c:val>
          <c:smooth val="0"/>
          <c:extLst>
            <c:ext xmlns:c16="http://schemas.microsoft.com/office/drawing/2014/chart" uri="{C3380CC4-5D6E-409C-BE32-E72D297353CC}">
              <c16:uniqueId val="{00000001-8A47-43FA-AAD0-24E983A0C0CC}"/>
            </c:ext>
          </c:extLst>
        </c:ser>
        <c:dLbls>
          <c:showLegendKey val="0"/>
          <c:showVal val="0"/>
          <c:showCatName val="0"/>
          <c:showSerName val="0"/>
          <c:showPercent val="0"/>
          <c:showBubbleSize val="0"/>
        </c:dLbls>
        <c:smooth val="0"/>
        <c:axId val="494445784"/>
        <c:axId val="494447424"/>
      </c:lineChart>
      <c:dateAx>
        <c:axId val="494445784"/>
        <c:scaling>
          <c:orientation val="minMax"/>
          <c:max val="44782"/>
          <c:min val="44726"/>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4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7580060549135"/>
          <c:y val="6.6738920446538619E-2"/>
          <c:w val="0.81931293288947693"/>
          <c:h val="0.86652220107470168"/>
        </c:manualLayout>
      </c:layout>
      <c:lineChart>
        <c:grouping val="standard"/>
        <c:varyColors val="0"/>
        <c:ser>
          <c:idx val="0"/>
          <c:order val="0"/>
          <c:tx>
            <c:strRef>
              <c:f>Sheet1!$B$1</c:f>
              <c:strCache>
                <c:ptCount val="1"/>
                <c:pt idx="0">
                  <c:v>Billerica</c:v>
                </c:pt>
              </c:strCache>
            </c:strRef>
          </c:tx>
          <c:spPr>
            <a:ln w="19050" cap="rnd">
              <a:solidFill>
                <a:schemeClr val="accent1"/>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B$32:$B$132</c:f>
              <c:numCache>
                <c:formatCode>0</c:formatCode>
                <c:ptCount val="101"/>
                <c:pt idx="0">
                  <c:v>517.7240459831454</c:v>
                </c:pt>
                <c:pt idx="1">
                  <c:v>463.04118883153296</c:v>
                </c:pt>
                <c:pt idx="2">
                  <c:v>463.04118883153296</c:v>
                </c:pt>
                <c:pt idx="3">
                  <c:v>841.26271940050265</c:v>
                </c:pt>
                <c:pt idx="4">
                  <c:v>841.26271940050265</c:v>
                </c:pt>
                <c:pt idx="5">
                  <c:v>1138.6262159153996</c:v>
                </c:pt>
                <c:pt idx="6">
                  <c:v>1138.6262159153996</c:v>
                </c:pt>
                <c:pt idx="7">
                  <c:v>1138.6262159153996</c:v>
                </c:pt>
                <c:pt idx="8">
                  <c:v>1763.0248074189967</c:v>
                </c:pt>
                <c:pt idx="9">
                  <c:v>1763.0248074189967</c:v>
                </c:pt>
                <c:pt idx="10">
                  <c:v>1708.0462278852467</c:v>
                </c:pt>
                <c:pt idx="11">
                  <c:v>1708.0462278852467</c:v>
                </c:pt>
                <c:pt idx="12">
                  <c:v>1853.29897735958</c:v>
                </c:pt>
                <c:pt idx="13">
                  <c:v>1853.29897735958</c:v>
                </c:pt>
                <c:pt idx="14">
                  <c:v>1853.29897735958</c:v>
                </c:pt>
                <c:pt idx="15">
                  <c:v>1592.1491036819368</c:v>
                </c:pt>
                <c:pt idx="16">
                  <c:v>1592.1491036819368</c:v>
                </c:pt>
                <c:pt idx="17">
                  <c:v>1419.2793374380954</c:v>
                </c:pt>
                <c:pt idx="18">
                  <c:v>1419.2793374380954</c:v>
                </c:pt>
                <c:pt idx="19">
                  <c:v>1142.5968915184956</c:v>
                </c:pt>
                <c:pt idx="20">
                  <c:v>1142.5968915184956</c:v>
                </c:pt>
                <c:pt idx="21">
                  <c:v>1142.5968915184956</c:v>
                </c:pt>
                <c:pt idx="22">
                  <c:v>1249.565215941142</c:v>
                </c:pt>
                <c:pt idx="23">
                  <c:v>1249.565215941142</c:v>
                </c:pt>
                <c:pt idx="24">
                  <c:v>1264.8819494585732</c:v>
                </c:pt>
                <c:pt idx="25">
                  <c:v>1264.8819494585732</c:v>
                </c:pt>
                <c:pt idx="26">
                  <c:v>1206.773538208445</c:v>
                </c:pt>
                <c:pt idx="27">
                  <c:v>1206.773538208445</c:v>
                </c:pt>
                <c:pt idx="28">
                  <c:v>1206.773538208445</c:v>
                </c:pt>
                <c:pt idx="29">
                  <c:v>914.33712549470602</c:v>
                </c:pt>
                <c:pt idx="30">
                  <c:v>914.33712549470602</c:v>
                </c:pt>
                <c:pt idx="31">
                  <c:v>746.73310951955102</c:v>
                </c:pt>
                <c:pt idx="32">
                  <c:v>746.73310951955102</c:v>
                </c:pt>
                <c:pt idx="33">
                  <c:v>691.83002559460397</c:v>
                </c:pt>
                <c:pt idx="34">
                  <c:v>691.83002559460397</c:v>
                </c:pt>
                <c:pt idx="35">
                  <c:v>691.83002559460397</c:v>
                </c:pt>
                <c:pt idx="36">
                  <c:v>815.98239903763738</c:v>
                </c:pt>
                <c:pt idx="37">
                  <c:v>815.98239903763738</c:v>
                </c:pt>
                <c:pt idx="38">
                  <c:v>819.31412384587691</c:v>
                </c:pt>
                <c:pt idx="39">
                  <c:v>819.31412384587691</c:v>
                </c:pt>
                <c:pt idx="40">
                  <c:v>838.72447136391793</c:v>
                </c:pt>
                <c:pt idx="41">
                  <c:v>838.72447136391793</c:v>
                </c:pt>
                <c:pt idx="42">
                  <c:v>838.72447136391793</c:v>
                </c:pt>
                <c:pt idx="43">
                  <c:v>763.61640984033465</c:v>
                </c:pt>
                <c:pt idx="44">
                  <c:v>763.61640984033465</c:v>
                </c:pt>
                <c:pt idx="45">
                  <c:v>1109.5780769999999</c:v>
                </c:pt>
                <c:pt idx="46">
                  <c:v>1109.5780769999999</c:v>
                </c:pt>
                <c:pt idx="47">
                  <c:v>1105.9983569666667</c:v>
                </c:pt>
                <c:pt idx="48">
                  <c:v>1105.9983569666667</c:v>
                </c:pt>
                <c:pt idx="49">
                  <c:v>1105.9983569666667</c:v>
                </c:pt>
                <c:pt idx="50">
                  <c:v>1207.4447601500001</c:v>
                </c:pt>
                <c:pt idx="51">
                  <c:v>1207.4447601500001</c:v>
                </c:pt>
                <c:pt idx="52">
                  <c:v>806.46421505000001</c:v>
                </c:pt>
                <c:pt idx="53">
                  <c:v>806.46421505000001</c:v>
                </c:pt>
                <c:pt idx="54">
                  <c:v>746.12242379999998</c:v>
                </c:pt>
                <c:pt idx="55">
                  <c:v>746.12242379999998</c:v>
                </c:pt>
                <c:pt idx="56">
                  <c:v>746.12242379999998</c:v>
                </c:pt>
                <c:pt idx="57">
                  <c:v>766.55600959999992</c:v>
                </c:pt>
                <c:pt idx="58">
                  <c:v>766.55600959999992</c:v>
                </c:pt>
                <c:pt idx="59">
                  <c:v>661.0923130000001</c:v>
                </c:pt>
                <c:pt idx="60">
                  <c:v>661.0923130000001</c:v>
                </c:pt>
                <c:pt idx="61">
                  <c:v>661.0923130000001</c:v>
                </c:pt>
                <c:pt idx="62">
                  <c:v>661.0923130000001</c:v>
                </c:pt>
                <c:pt idx="63">
                  <c:v>661.0923130000001</c:v>
                </c:pt>
                <c:pt idx="64">
                  <c:v>1393.0383583000003</c:v>
                </c:pt>
                <c:pt idx="65">
                  <c:v>1393.0383583000003</c:v>
                </c:pt>
                <c:pt idx="66">
                  <c:v>1506.26619665</c:v>
                </c:pt>
                <c:pt idx="67">
                  <c:v>1506.26619665</c:v>
                </c:pt>
                <c:pt idx="68">
                  <c:v>1268.2965031000001</c:v>
                </c:pt>
                <c:pt idx="69">
                  <c:v>1268.2965031000001</c:v>
                </c:pt>
                <c:pt idx="70">
                  <c:v>1268.2965031000001</c:v>
                </c:pt>
                <c:pt idx="71">
                  <c:v>873.33562010000003</c:v>
                </c:pt>
                <c:pt idx="72">
                  <c:v>873.33562010000003</c:v>
                </c:pt>
                <c:pt idx="73">
                  <c:v>910.12049019999995</c:v>
                </c:pt>
                <c:pt idx="74">
                  <c:v>910.12049019999995</c:v>
                </c:pt>
                <c:pt idx="75">
                  <c:v>822.53330786666663</c:v>
                </c:pt>
                <c:pt idx="76">
                  <c:v>822.53330786666663</c:v>
                </c:pt>
                <c:pt idx="77">
                  <c:v>822.53330786666663</c:v>
                </c:pt>
                <c:pt idx="78">
                  <c:v>548.24951836666662</c:v>
                </c:pt>
                <c:pt idx="79">
                  <c:v>548.24951836666662</c:v>
                </c:pt>
                <c:pt idx="80">
                  <c:v>626.19213350000007</c:v>
                </c:pt>
                <c:pt idx="81">
                  <c:v>626.19213350000007</c:v>
                </c:pt>
                <c:pt idx="82">
                  <c:v>674.49041575000001</c:v>
                </c:pt>
                <c:pt idx="83">
                  <c:v>674.49041575000001</c:v>
                </c:pt>
                <c:pt idx="84">
                  <c:v>674.49041575000001</c:v>
                </c:pt>
                <c:pt idx="85">
                  <c:v>983.7356681</c:v>
                </c:pt>
                <c:pt idx="86">
                  <c:v>983.7356681</c:v>
                </c:pt>
                <c:pt idx="87">
                  <c:v>1183.8932481000002</c:v>
                </c:pt>
                <c:pt idx="88">
                  <c:v>1183.8932481000002</c:v>
                </c:pt>
                <c:pt idx="89">
                  <c:v>1183.8932481000002</c:v>
                </c:pt>
                <c:pt idx="90">
                  <c:v>1183.8932481000002</c:v>
                </c:pt>
                <c:pt idx="91">
                  <c:v>1183.8932481000002</c:v>
                </c:pt>
                <c:pt idx="92">
                  <c:v>1669.6066030000002</c:v>
                </c:pt>
                <c:pt idx="93">
                  <c:v>1669.6066030000002</c:v>
                </c:pt>
                <c:pt idx="94">
                  <c:v>1642.999004</c:v>
                </c:pt>
                <c:pt idx="95">
                  <c:v>1642.999004</c:v>
                </c:pt>
                <c:pt idx="96">
                  <c:v>1642.999004</c:v>
                </c:pt>
                <c:pt idx="97">
                  <c:v>1642.999004</c:v>
                </c:pt>
                <c:pt idx="98">
                  <c:v>1642.999004</c:v>
                </c:pt>
                <c:pt idx="99">
                  <c:v>1452.933125</c:v>
                </c:pt>
                <c:pt idx="100">
                  <c:v>1452.933125</c:v>
                </c:pt>
              </c:numCache>
            </c:numRef>
          </c:val>
          <c:smooth val="1"/>
          <c:extLst>
            <c:ext xmlns:c16="http://schemas.microsoft.com/office/drawing/2014/chart" uri="{C3380CC4-5D6E-409C-BE32-E72D297353CC}">
              <c16:uniqueId val="{00000000-D184-4EB7-83A9-0FA1FBEC78ED}"/>
            </c:ext>
          </c:extLst>
        </c:ser>
        <c:ser>
          <c:idx val="1"/>
          <c:order val="1"/>
          <c:tx>
            <c:strRef>
              <c:f>Sheet1!$C$1</c:f>
              <c:strCache>
                <c:ptCount val="1"/>
                <c:pt idx="0">
                  <c:v>Greater Lawrence</c:v>
                </c:pt>
              </c:strCache>
            </c:strRef>
          </c:tx>
          <c:spPr>
            <a:ln w="19050" cap="rnd">
              <a:solidFill>
                <a:schemeClr val="bg2">
                  <a:lumMod val="75000"/>
                </a:schemeClr>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C$32:$C$132</c:f>
              <c:numCache>
                <c:formatCode>0</c:formatCode>
                <c:ptCount val="101"/>
                <c:pt idx="0">
                  <c:v>539.419262</c:v>
                </c:pt>
                <c:pt idx="1">
                  <c:v>595.95150872499994</c:v>
                </c:pt>
                <c:pt idx="2">
                  <c:v>610.54934442500007</c:v>
                </c:pt>
                <c:pt idx="3">
                  <c:v>662.59101652499999</c:v>
                </c:pt>
                <c:pt idx="4">
                  <c:v>662.59101652499999</c:v>
                </c:pt>
                <c:pt idx="5">
                  <c:v>662.59101652499999</c:v>
                </c:pt>
                <c:pt idx="6">
                  <c:v>662.59101652499999</c:v>
                </c:pt>
                <c:pt idx="7">
                  <c:v>891.01294862500004</c:v>
                </c:pt>
                <c:pt idx="8">
                  <c:v>913.23502127500001</c:v>
                </c:pt>
                <c:pt idx="9">
                  <c:v>1343.0671261000002</c:v>
                </c:pt>
                <c:pt idx="10">
                  <c:v>1845.6314843250002</c:v>
                </c:pt>
                <c:pt idx="11">
                  <c:v>1845.6314843250002</c:v>
                </c:pt>
                <c:pt idx="12">
                  <c:v>1845.6314843250002</c:v>
                </c:pt>
                <c:pt idx="13">
                  <c:v>1845.6314843250002</c:v>
                </c:pt>
                <c:pt idx="14">
                  <c:v>1729.7451875749998</c:v>
                </c:pt>
                <c:pt idx="15">
                  <c:v>1752.222548425</c:v>
                </c:pt>
                <c:pt idx="16">
                  <c:v>1387.5782410499999</c:v>
                </c:pt>
                <c:pt idx="17">
                  <c:v>1073.7071908</c:v>
                </c:pt>
                <c:pt idx="18">
                  <c:v>1073.7071908</c:v>
                </c:pt>
                <c:pt idx="19">
                  <c:v>1073.7071908</c:v>
                </c:pt>
                <c:pt idx="20">
                  <c:v>1073.7071908</c:v>
                </c:pt>
                <c:pt idx="21">
                  <c:v>1094.5726865500001</c:v>
                </c:pt>
                <c:pt idx="22">
                  <c:v>1184.980836875</c:v>
                </c:pt>
                <c:pt idx="23">
                  <c:v>1252.6531597499998</c:v>
                </c:pt>
                <c:pt idx="24">
                  <c:v>1205.4273217499999</c:v>
                </c:pt>
                <c:pt idx="25">
                  <c:v>1205.4273217499999</c:v>
                </c:pt>
                <c:pt idx="26">
                  <c:v>1205.4273217499999</c:v>
                </c:pt>
                <c:pt idx="27">
                  <c:v>1205.4273217499999</c:v>
                </c:pt>
                <c:pt idx="28">
                  <c:v>1189.3869340000001</c:v>
                </c:pt>
                <c:pt idx="29">
                  <c:v>1149.0922807499999</c:v>
                </c:pt>
                <c:pt idx="30">
                  <c:v>1445.2179967500001</c:v>
                </c:pt>
                <c:pt idx="31">
                  <c:v>1345.3463249750002</c:v>
                </c:pt>
                <c:pt idx="32">
                  <c:v>1345.3463249750002</c:v>
                </c:pt>
                <c:pt idx="33">
                  <c:v>1345.3463249750002</c:v>
                </c:pt>
                <c:pt idx="34">
                  <c:v>1345.3463249750002</c:v>
                </c:pt>
                <c:pt idx="35">
                  <c:v>1306.6555884750001</c:v>
                </c:pt>
                <c:pt idx="36">
                  <c:v>1286.9712201000002</c:v>
                </c:pt>
                <c:pt idx="37">
                  <c:v>847.16640704999998</c:v>
                </c:pt>
                <c:pt idx="38">
                  <c:v>821.13272399999994</c:v>
                </c:pt>
                <c:pt idx="39">
                  <c:v>821.13272399999994</c:v>
                </c:pt>
                <c:pt idx="40">
                  <c:v>821.13272399999994</c:v>
                </c:pt>
                <c:pt idx="41">
                  <c:v>821.13272399999994</c:v>
                </c:pt>
                <c:pt idx="42">
                  <c:v>879.27332999999999</c:v>
                </c:pt>
                <c:pt idx="43">
                  <c:v>748.19243649999999</c:v>
                </c:pt>
                <c:pt idx="44">
                  <c:v>774.98685627499992</c:v>
                </c:pt>
                <c:pt idx="45">
                  <c:v>764.84682644999998</c:v>
                </c:pt>
                <c:pt idx="46">
                  <c:v>764.84682644999998</c:v>
                </c:pt>
                <c:pt idx="47">
                  <c:v>764.84682644999998</c:v>
                </c:pt>
                <c:pt idx="48">
                  <c:v>764.84682644999998</c:v>
                </c:pt>
                <c:pt idx="49">
                  <c:v>617.84397719999993</c:v>
                </c:pt>
                <c:pt idx="50">
                  <c:v>804.66426057499996</c:v>
                </c:pt>
                <c:pt idx="51">
                  <c:v>855.50189194999996</c:v>
                </c:pt>
                <c:pt idx="52">
                  <c:v>941.23627009999996</c:v>
                </c:pt>
                <c:pt idx="53">
                  <c:v>941.23627009999996</c:v>
                </c:pt>
                <c:pt idx="54">
                  <c:v>941.23627009999996</c:v>
                </c:pt>
                <c:pt idx="55">
                  <c:v>941.23627009999996</c:v>
                </c:pt>
                <c:pt idx="56">
                  <c:v>1044.8087370999999</c:v>
                </c:pt>
                <c:pt idx="57">
                  <c:v>905.8342119749999</c:v>
                </c:pt>
                <c:pt idx="58">
                  <c:v>859.51582785000005</c:v>
                </c:pt>
                <c:pt idx="59">
                  <c:v>784.06942342499997</c:v>
                </c:pt>
                <c:pt idx="60">
                  <c:v>784.06942342499997</c:v>
                </c:pt>
                <c:pt idx="61">
                  <c:v>784.06942342499997</c:v>
                </c:pt>
                <c:pt idx="62">
                  <c:v>784.06942342499997</c:v>
                </c:pt>
                <c:pt idx="63">
                  <c:v>841.23631017499997</c:v>
                </c:pt>
                <c:pt idx="64">
                  <c:v>1086.59630305</c:v>
                </c:pt>
                <c:pt idx="65">
                  <c:v>1216.4478575749999</c:v>
                </c:pt>
                <c:pt idx="66">
                  <c:v>1426.0938234999999</c:v>
                </c:pt>
                <c:pt idx="67">
                  <c:v>1426.0938234999999</c:v>
                </c:pt>
                <c:pt idx="68">
                  <c:v>1426.0938234999999</c:v>
                </c:pt>
                <c:pt idx="69">
                  <c:v>1426.0938234999999</c:v>
                </c:pt>
                <c:pt idx="70">
                  <c:v>1444.3634594999999</c:v>
                </c:pt>
                <c:pt idx="71">
                  <c:v>1533.6596790000001</c:v>
                </c:pt>
                <c:pt idx="72">
                  <c:v>1481.255002075</c:v>
                </c:pt>
                <c:pt idx="73">
                  <c:v>1492.1711108250001</c:v>
                </c:pt>
                <c:pt idx="74">
                  <c:v>1492.1711108250001</c:v>
                </c:pt>
                <c:pt idx="75">
                  <c:v>1492.1711108250001</c:v>
                </c:pt>
                <c:pt idx="76">
                  <c:v>1492.1711108250001</c:v>
                </c:pt>
                <c:pt idx="77">
                  <c:v>1441.0925423250003</c:v>
                </c:pt>
                <c:pt idx="78">
                  <c:v>1292.1501253249999</c:v>
                </c:pt>
                <c:pt idx="79">
                  <c:v>1314.5205047499999</c:v>
                </c:pt>
                <c:pt idx="80">
                  <c:v>1232.2728292500001</c:v>
                </c:pt>
                <c:pt idx="81">
                  <c:v>1232.2728292500001</c:v>
                </c:pt>
                <c:pt idx="82">
                  <c:v>1232.2728292500001</c:v>
                </c:pt>
                <c:pt idx="83">
                  <c:v>1232.2728292500001</c:v>
                </c:pt>
                <c:pt idx="84">
                  <c:v>1420.7865425</c:v>
                </c:pt>
                <c:pt idx="85">
                  <c:v>1331.1261353250002</c:v>
                </c:pt>
                <c:pt idx="86">
                  <c:v>1456.586200575</c:v>
                </c:pt>
                <c:pt idx="87">
                  <c:v>1461.0965618250002</c:v>
                </c:pt>
                <c:pt idx="88">
                  <c:v>1461.0965618250002</c:v>
                </c:pt>
                <c:pt idx="89">
                  <c:v>1461.0965618250002</c:v>
                </c:pt>
                <c:pt idx="90">
                  <c:v>1461.0965618250002</c:v>
                </c:pt>
                <c:pt idx="91">
                  <c:v>1377.443991075</c:v>
                </c:pt>
                <c:pt idx="92">
                  <c:v>1550.4920070000003</c:v>
                </c:pt>
                <c:pt idx="93">
                  <c:v>1454.3849022499999</c:v>
                </c:pt>
                <c:pt idx="94">
                  <c:v>1407.9864210000003</c:v>
                </c:pt>
                <c:pt idx="95">
                  <c:v>1407.9864210000003</c:v>
                </c:pt>
                <c:pt idx="96">
                  <c:v>1407.9864210000003</c:v>
                </c:pt>
                <c:pt idx="97">
                  <c:v>1407.9864210000003</c:v>
                </c:pt>
                <c:pt idx="98">
                  <c:v>1436.04278075</c:v>
                </c:pt>
                <c:pt idx="99">
                  <c:v>1353.4238499999999</c:v>
                </c:pt>
                <c:pt idx="100">
                  <c:v>1429.0245335</c:v>
                </c:pt>
              </c:numCache>
            </c:numRef>
          </c:val>
          <c:smooth val="1"/>
          <c:extLst>
            <c:ext xmlns:c16="http://schemas.microsoft.com/office/drawing/2014/chart" uri="{C3380CC4-5D6E-409C-BE32-E72D297353CC}">
              <c16:uniqueId val="{00000001-D184-4EB7-83A9-0FA1FBEC78ED}"/>
            </c:ext>
          </c:extLst>
        </c:ser>
        <c:ser>
          <c:idx val="2"/>
          <c:order val="2"/>
          <c:tx>
            <c:strRef>
              <c:f>Sheet1!$D$1</c:f>
              <c:strCache>
                <c:ptCount val="1"/>
                <c:pt idx="0">
                  <c:v>Haverhill</c:v>
                </c:pt>
              </c:strCache>
            </c:strRef>
          </c:tx>
          <c:spPr>
            <a:ln w="15875" cap="rnd">
              <a:solidFill>
                <a:schemeClr val="accent3">
                  <a:lumMod val="50000"/>
                </a:schemeClr>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D$32:$D$132</c:f>
              <c:numCache>
                <c:formatCode>0</c:formatCode>
                <c:ptCount val="101"/>
                <c:pt idx="0">
                  <c:v>436.179981</c:v>
                </c:pt>
                <c:pt idx="1">
                  <c:v>485.24477157499996</c:v>
                </c:pt>
                <c:pt idx="2">
                  <c:v>587.77574072499988</c:v>
                </c:pt>
                <c:pt idx="3">
                  <c:v>631.22163015000001</c:v>
                </c:pt>
                <c:pt idx="4">
                  <c:v>631.22163015000001</c:v>
                </c:pt>
                <c:pt idx="5">
                  <c:v>631.22163015000001</c:v>
                </c:pt>
                <c:pt idx="6">
                  <c:v>631.22163015000001</c:v>
                </c:pt>
                <c:pt idx="7">
                  <c:v>701.49055232500007</c:v>
                </c:pt>
                <c:pt idx="8">
                  <c:v>764.262041275</c:v>
                </c:pt>
                <c:pt idx="9">
                  <c:v>806.43660609999995</c:v>
                </c:pt>
                <c:pt idx="10">
                  <c:v>934.57542220000005</c:v>
                </c:pt>
                <c:pt idx="11">
                  <c:v>934.57542220000005</c:v>
                </c:pt>
                <c:pt idx="12">
                  <c:v>934.57542220000005</c:v>
                </c:pt>
                <c:pt idx="13">
                  <c:v>934.57542220000005</c:v>
                </c:pt>
                <c:pt idx="14">
                  <c:v>1069.235851725</c:v>
                </c:pt>
                <c:pt idx="15">
                  <c:v>1054.4426366</c:v>
                </c:pt>
                <c:pt idx="16">
                  <c:v>1077.6122447750001</c:v>
                </c:pt>
                <c:pt idx="17">
                  <c:v>1062.9567340250001</c:v>
                </c:pt>
                <c:pt idx="18">
                  <c:v>1062.9567340250001</c:v>
                </c:pt>
                <c:pt idx="19">
                  <c:v>1062.9567340250001</c:v>
                </c:pt>
                <c:pt idx="20">
                  <c:v>1062.9567340250001</c:v>
                </c:pt>
                <c:pt idx="21">
                  <c:v>879.52958752500001</c:v>
                </c:pt>
                <c:pt idx="22">
                  <c:v>859.75850462499989</c:v>
                </c:pt>
                <c:pt idx="23">
                  <c:v>779.85257357499984</c:v>
                </c:pt>
                <c:pt idx="24">
                  <c:v>816.99361682499989</c:v>
                </c:pt>
                <c:pt idx="25">
                  <c:v>816.99361682499989</c:v>
                </c:pt>
                <c:pt idx="26">
                  <c:v>816.99361682499989</c:v>
                </c:pt>
                <c:pt idx="27">
                  <c:v>816.99361682499989</c:v>
                </c:pt>
                <c:pt idx="28">
                  <c:v>936.92457482500004</c:v>
                </c:pt>
                <c:pt idx="29">
                  <c:v>1104.5277014999999</c:v>
                </c:pt>
                <c:pt idx="30">
                  <c:v>1163.6920495999998</c:v>
                </c:pt>
                <c:pt idx="31">
                  <c:v>1047.5329193499999</c:v>
                </c:pt>
                <c:pt idx="32">
                  <c:v>1047.5329193499999</c:v>
                </c:pt>
                <c:pt idx="33">
                  <c:v>1047.5329193499999</c:v>
                </c:pt>
                <c:pt idx="34">
                  <c:v>1047.5329193499999</c:v>
                </c:pt>
                <c:pt idx="35">
                  <c:v>1017.0209479</c:v>
                </c:pt>
                <c:pt idx="36">
                  <c:v>802.26746357499997</c:v>
                </c:pt>
                <c:pt idx="37">
                  <c:v>767.92877380000004</c:v>
                </c:pt>
                <c:pt idx="38">
                  <c:v>1195.9788333000001</c:v>
                </c:pt>
                <c:pt idx="39">
                  <c:v>1195.9788333000001</c:v>
                </c:pt>
                <c:pt idx="40">
                  <c:v>1195.9788333000001</c:v>
                </c:pt>
                <c:pt idx="41">
                  <c:v>1195.9788333000001</c:v>
                </c:pt>
                <c:pt idx="42">
                  <c:v>1073.2628215499999</c:v>
                </c:pt>
                <c:pt idx="43">
                  <c:v>1043.9292721750001</c:v>
                </c:pt>
                <c:pt idx="44">
                  <c:v>966.92468235000001</c:v>
                </c:pt>
                <c:pt idx="45">
                  <c:v>456.84113074999993</c:v>
                </c:pt>
                <c:pt idx="46">
                  <c:v>456.84113074999993</c:v>
                </c:pt>
                <c:pt idx="47">
                  <c:v>456.84113074999993</c:v>
                </c:pt>
                <c:pt idx="48">
                  <c:v>456.84113074999993</c:v>
                </c:pt>
                <c:pt idx="49">
                  <c:v>484.64331312500002</c:v>
                </c:pt>
                <c:pt idx="50">
                  <c:v>528.89446239999995</c:v>
                </c:pt>
                <c:pt idx="51">
                  <c:v>530.27526264999995</c:v>
                </c:pt>
                <c:pt idx="52">
                  <c:v>706.62593299999992</c:v>
                </c:pt>
                <c:pt idx="53">
                  <c:v>706.62593299999992</c:v>
                </c:pt>
                <c:pt idx="54">
                  <c:v>706.62593299999992</c:v>
                </c:pt>
                <c:pt idx="55">
                  <c:v>706.62593299999992</c:v>
                </c:pt>
                <c:pt idx="56">
                  <c:v>777.26720354999998</c:v>
                </c:pt>
                <c:pt idx="57">
                  <c:v>677.72749147499997</c:v>
                </c:pt>
                <c:pt idx="58">
                  <c:v>677.92432405</c:v>
                </c:pt>
                <c:pt idx="59">
                  <c:v>518.19214105000003</c:v>
                </c:pt>
                <c:pt idx="60">
                  <c:v>518.19214105000003</c:v>
                </c:pt>
                <c:pt idx="61">
                  <c:v>518.19214105000003</c:v>
                </c:pt>
                <c:pt idx="62">
                  <c:v>518.19214105000003</c:v>
                </c:pt>
                <c:pt idx="63">
                  <c:v>497.22415539999997</c:v>
                </c:pt>
                <c:pt idx="64">
                  <c:v>986.90159264999988</c:v>
                </c:pt>
                <c:pt idx="65">
                  <c:v>1119.3835912749998</c:v>
                </c:pt>
                <c:pt idx="66">
                  <c:v>1211.6465993499999</c:v>
                </c:pt>
                <c:pt idx="67">
                  <c:v>1211.6465993499999</c:v>
                </c:pt>
                <c:pt idx="68">
                  <c:v>1211.6465993499999</c:v>
                </c:pt>
                <c:pt idx="69">
                  <c:v>1211.6465993499999</c:v>
                </c:pt>
                <c:pt idx="70">
                  <c:v>2532.4921422750003</c:v>
                </c:pt>
                <c:pt idx="71">
                  <c:v>2354.1089355250001</c:v>
                </c:pt>
                <c:pt idx="72">
                  <c:v>2415.5740135750002</c:v>
                </c:pt>
                <c:pt idx="73">
                  <c:v>2514.0159962500002</c:v>
                </c:pt>
                <c:pt idx="74">
                  <c:v>2514.0159962500002</c:v>
                </c:pt>
                <c:pt idx="75">
                  <c:v>2514.0159962500002</c:v>
                </c:pt>
                <c:pt idx="76">
                  <c:v>2514.0159962500002</c:v>
                </c:pt>
                <c:pt idx="77">
                  <c:v>1384.0534655000001</c:v>
                </c:pt>
                <c:pt idx="78">
                  <c:v>1271.8845099999999</c:v>
                </c:pt>
                <c:pt idx="79">
                  <c:v>1152.9927639</c:v>
                </c:pt>
                <c:pt idx="80">
                  <c:v>967.35354297499998</c:v>
                </c:pt>
                <c:pt idx="81">
                  <c:v>967.35354297499998</c:v>
                </c:pt>
                <c:pt idx="82">
                  <c:v>967.35354297499998</c:v>
                </c:pt>
                <c:pt idx="83">
                  <c:v>967.35354297499998</c:v>
                </c:pt>
                <c:pt idx="84">
                  <c:v>923.84115922499996</c:v>
                </c:pt>
                <c:pt idx="85">
                  <c:v>827.71981314999994</c:v>
                </c:pt>
                <c:pt idx="86">
                  <c:v>858.29651012499994</c:v>
                </c:pt>
                <c:pt idx="87">
                  <c:v>967.00302692499997</c:v>
                </c:pt>
                <c:pt idx="88">
                  <c:v>967.00302692499997</c:v>
                </c:pt>
                <c:pt idx="89">
                  <c:v>967.00302692499997</c:v>
                </c:pt>
                <c:pt idx="90">
                  <c:v>967.00302692499997</c:v>
                </c:pt>
                <c:pt idx="91">
                  <c:v>986.00660367499995</c:v>
                </c:pt>
                <c:pt idx="92">
                  <c:v>1134.7012425</c:v>
                </c:pt>
                <c:pt idx="93">
                  <c:v>1078.929320425</c:v>
                </c:pt>
                <c:pt idx="94">
                  <c:v>1012.9137095000001</c:v>
                </c:pt>
                <c:pt idx="95">
                  <c:v>1012.9137095000001</c:v>
                </c:pt>
                <c:pt idx="96">
                  <c:v>1012.9137095000001</c:v>
                </c:pt>
                <c:pt idx="97">
                  <c:v>1012.9137095000001</c:v>
                </c:pt>
                <c:pt idx="98">
                  <c:v>963.75037825000004</c:v>
                </c:pt>
                <c:pt idx="99">
                  <c:v>843.69857300000001</c:v>
                </c:pt>
                <c:pt idx="100">
                  <c:v>931.76109439999993</c:v>
                </c:pt>
              </c:numCache>
            </c:numRef>
          </c:val>
          <c:smooth val="1"/>
          <c:extLst>
            <c:ext xmlns:c16="http://schemas.microsoft.com/office/drawing/2014/chart" uri="{C3380CC4-5D6E-409C-BE32-E72D297353CC}">
              <c16:uniqueId val="{00000002-D184-4EB7-83A9-0FA1FBEC78ED}"/>
            </c:ext>
          </c:extLst>
        </c:ser>
        <c:ser>
          <c:idx val="3"/>
          <c:order val="3"/>
          <c:tx>
            <c:strRef>
              <c:f>Sheet1!$E$1</c:f>
              <c:strCache>
                <c:ptCount val="1"/>
                <c:pt idx="0">
                  <c:v>MWRA North</c:v>
                </c:pt>
              </c:strCache>
            </c:strRef>
          </c:tx>
          <c:spPr>
            <a:ln w="19050" cap="rnd">
              <a:solidFill>
                <a:srgbClr val="F339DD"/>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E$32:$E$132</c:f>
              <c:numCache>
                <c:formatCode>General</c:formatCode>
                <c:ptCount val="101"/>
                <c:pt idx="3" formatCode="0">
                  <c:v>632</c:v>
                </c:pt>
                <c:pt idx="4" formatCode="0">
                  <c:v>692</c:v>
                </c:pt>
                <c:pt idx="5" formatCode="0">
                  <c:v>687</c:v>
                </c:pt>
                <c:pt idx="6" formatCode="0">
                  <c:v>700</c:v>
                </c:pt>
                <c:pt idx="7" formatCode="0">
                  <c:v>769</c:v>
                </c:pt>
                <c:pt idx="8" formatCode="0">
                  <c:v>797</c:v>
                </c:pt>
                <c:pt idx="9" formatCode="0">
                  <c:v>856</c:v>
                </c:pt>
                <c:pt idx="10" formatCode="0">
                  <c:v>891</c:v>
                </c:pt>
                <c:pt idx="11" formatCode="0">
                  <c:v>965</c:v>
                </c:pt>
                <c:pt idx="12" formatCode="0">
                  <c:v>1035</c:v>
                </c:pt>
                <c:pt idx="13" formatCode="0">
                  <c:v>1117</c:v>
                </c:pt>
                <c:pt idx="14" formatCode="0">
                  <c:v>1122</c:v>
                </c:pt>
                <c:pt idx="15" formatCode="0">
                  <c:v>1170</c:v>
                </c:pt>
                <c:pt idx="16" formatCode="0">
                  <c:v>1273</c:v>
                </c:pt>
                <c:pt idx="17" formatCode="0">
                  <c:v>1210</c:v>
                </c:pt>
                <c:pt idx="18" formatCode="0">
                  <c:v>1086</c:v>
                </c:pt>
                <c:pt idx="19" formatCode="0">
                  <c:v>1081</c:v>
                </c:pt>
                <c:pt idx="20" formatCode="0">
                  <c:v>1020</c:v>
                </c:pt>
                <c:pt idx="21" formatCode="0">
                  <c:v>1044</c:v>
                </c:pt>
                <c:pt idx="22" formatCode="0">
                  <c:v>1035</c:v>
                </c:pt>
                <c:pt idx="23" formatCode="0">
                  <c:v>922</c:v>
                </c:pt>
                <c:pt idx="24" formatCode="0">
                  <c:v>894</c:v>
                </c:pt>
                <c:pt idx="25" formatCode="0">
                  <c:v>968</c:v>
                </c:pt>
                <c:pt idx="26" formatCode="0">
                  <c:v>944</c:v>
                </c:pt>
                <c:pt idx="27" formatCode="0">
                  <c:v>962</c:v>
                </c:pt>
                <c:pt idx="28" formatCode="0">
                  <c:v>972</c:v>
                </c:pt>
                <c:pt idx="29" formatCode="0">
                  <c:v>951</c:v>
                </c:pt>
                <c:pt idx="30" formatCode="0">
                  <c:v>1038</c:v>
                </c:pt>
                <c:pt idx="31" formatCode="0">
                  <c:v>1090</c:v>
                </c:pt>
                <c:pt idx="32" formatCode="0">
                  <c:v>990</c:v>
                </c:pt>
                <c:pt idx="33" formatCode="0">
                  <c:v>977</c:v>
                </c:pt>
                <c:pt idx="34" formatCode="0">
                  <c:v>889</c:v>
                </c:pt>
                <c:pt idx="35" formatCode="0">
                  <c:v>746</c:v>
                </c:pt>
                <c:pt idx="36" formatCode="0">
                  <c:v>671</c:v>
                </c:pt>
                <c:pt idx="37" formatCode="0">
                  <c:v>592</c:v>
                </c:pt>
                <c:pt idx="38" formatCode="0">
                  <c:v>574</c:v>
                </c:pt>
                <c:pt idx="39" formatCode="0">
                  <c:v>554</c:v>
                </c:pt>
                <c:pt idx="40" formatCode="0">
                  <c:v>521</c:v>
                </c:pt>
                <c:pt idx="41" formatCode="0">
                  <c:v>551</c:v>
                </c:pt>
                <c:pt idx="42" formatCode="0">
                  <c:v>630</c:v>
                </c:pt>
                <c:pt idx="43" formatCode="0">
                  <c:v>580</c:v>
                </c:pt>
                <c:pt idx="44" formatCode="0">
                  <c:v>563</c:v>
                </c:pt>
                <c:pt idx="45" formatCode="0">
                  <c:v>629</c:v>
                </c:pt>
                <c:pt idx="46" formatCode="0">
                  <c:v>724</c:v>
                </c:pt>
                <c:pt idx="47" formatCode="0">
                  <c:v>718</c:v>
                </c:pt>
                <c:pt idx="48" formatCode="0">
                  <c:v>660</c:v>
                </c:pt>
                <c:pt idx="49" formatCode="0">
                  <c:v>605</c:v>
                </c:pt>
                <c:pt idx="50" formatCode="0">
                  <c:v>676</c:v>
                </c:pt>
                <c:pt idx="51" formatCode="0">
                  <c:v>696</c:v>
                </c:pt>
                <c:pt idx="52" formatCode="0">
                  <c:v>619</c:v>
                </c:pt>
                <c:pt idx="53" formatCode="0">
                  <c:v>567</c:v>
                </c:pt>
                <c:pt idx="54" formatCode="0">
                  <c:v>575</c:v>
                </c:pt>
                <c:pt idx="55" formatCode="0">
                  <c:v>621</c:v>
                </c:pt>
                <c:pt idx="56" formatCode="0">
                  <c:v>648</c:v>
                </c:pt>
                <c:pt idx="57" formatCode="0">
                  <c:v>649</c:v>
                </c:pt>
                <c:pt idx="58" formatCode="0">
                  <c:v>648</c:v>
                </c:pt>
                <c:pt idx="59" formatCode="0">
                  <c:v>647</c:v>
                </c:pt>
                <c:pt idx="60" formatCode="0">
                  <c:v>623</c:v>
                </c:pt>
                <c:pt idx="61" formatCode="0">
                  <c:v>587</c:v>
                </c:pt>
                <c:pt idx="62" formatCode="0">
                  <c:v>594</c:v>
                </c:pt>
                <c:pt idx="63" formatCode="0">
                  <c:v>600</c:v>
                </c:pt>
                <c:pt idx="64" formatCode="0">
                  <c:v>630</c:v>
                </c:pt>
                <c:pt idx="65" formatCode="0">
                  <c:v>664</c:v>
                </c:pt>
                <c:pt idx="66" formatCode="0">
                  <c:v>806.6169132</c:v>
                </c:pt>
                <c:pt idx="67" formatCode="0">
                  <c:v>828.19337329999996</c:v>
                </c:pt>
                <c:pt idx="68" formatCode="0">
                  <c:v>836.43340477499987</c:v>
                </c:pt>
                <c:pt idx="69" formatCode="0">
                  <c:v>827.71551275999991</c:v>
                </c:pt>
                <c:pt idx="70" formatCode="0">
                  <c:v>786.34403003333318</c:v>
                </c:pt>
                <c:pt idx="71" formatCode="0">
                  <c:v>770.55616365714275</c:v>
                </c:pt>
                <c:pt idx="72" formatCode="0">
                  <c:v>769.9357357857142</c:v>
                </c:pt>
                <c:pt idx="73" formatCode="0">
                  <c:v>773.05149090000009</c:v>
                </c:pt>
                <c:pt idx="74" formatCode="0">
                  <c:v>754.59094132857138</c:v>
                </c:pt>
                <c:pt idx="75" formatCode="0">
                  <c:v>716.1312751571428</c:v>
                </c:pt>
                <c:pt idx="76" formatCode="0">
                  <c:v>687.41205422857149</c:v>
                </c:pt>
                <c:pt idx="77" formatCode="0">
                  <c:v>702.1290315857143</c:v>
                </c:pt>
                <c:pt idx="78" formatCode="0">
                  <c:v>678.34165084285723</c:v>
                </c:pt>
                <c:pt idx="79" formatCode="0">
                  <c:v>639.03062520000003</c:v>
                </c:pt>
                <c:pt idx="80" formatCode="0">
                  <c:v>590.49491007142854</c:v>
                </c:pt>
                <c:pt idx="81" formatCode="0">
                  <c:v>568.04743120000001</c:v>
                </c:pt>
                <c:pt idx="82" formatCode="0">
                  <c:v>582.80148021428579</c:v>
                </c:pt>
                <c:pt idx="83" formatCode="0">
                  <c:v>566.67218727142858</c:v>
                </c:pt>
                <c:pt idx="84" formatCode="0">
                  <c:v>544.93851131428573</c:v>
                </c:pt>
                <c:pt idx="85" formatCode="0">
                  <c:v>551.30721517142854</c:v>
                </c:pt>
                <c:pt idx="86" formatCode="0">
                  <c:v>557.46469171428566</c:v>
                </c:pt>
                <c:pt idx="87" formatCode="0">
                  <c:v>581.04164425714282</c:v>
                </c:pt>
                <c:pt idx="88" formatCode="0">
                  <c:v>583.84783962857148</c:v>
                </c:pt>
                <c:pt idx="89" formatCode="0">
                  <c:v>566.09567951428573</c:v>
                </c:pt>
                <c:pt idx="90" formatCode="0">
                  <c:v>567.95282447142858</c:v>
                </c:pt>
                <c:pt idx="91" formatCode="0">
                  <c:v>561.54962962857155</c:v>
                </c:pt>
                <c:pt idx="92" formatCode="0">
                  <c:v>547.12108505714286</c:v>
                </c:pt>
                <c:pt idx="93" formatCode="0">
                  <c:v>547.56783430000007</c:v>
                </c:pt>
                <c:pt idx="94" formatCode="0">
                  <c:v>523.80458537142852</c:v>
                </c:pt>
                <c:pt idx="95" formatCode="0">
                  <c:v>523.04193737142862</c:v>
                </c:pt>
                <c:pt idx="96" formatCode="0">
                  <c:v>491.35036698571423</c:v>
                </c:pt>
                <c:pt idx="97" formatCode="0">
                  <c:v>485.28381281428574</c:v>
                </c:pt>
                <c:pt idx="98" formatCode="0">
                  <c:v>476.52508708571423</c:v>
                </c:pt>
                <c:pt idx="99" formatCode="0">
                  <c:v>469.44535185714284</c:v>
                </c:pt>
                <c:pt idx="100" formatCode="0">
                  <c:v>451.09885404999994</c:v>
                </c:pt>
              </c:numCache>
            </c:numRef>
          </c:val>
          <c:smooth val="1"/>
          <c:extLst>
            <c:ext xmlns:c16="http://schemas.microsoft.com/office/drawing/2014/chart" uri="{C3380CC4-5D6E-409C-BE32-E72D297353CC}">
              <c16:uniqueId val="{00000003-D184-4EB7-83A9-0FA1FBEC78ED}"/>
            </c:ext>
          </c:extLst>
        </c:ser>
        <c:ser>
          <c:idx val="4"/>
          <c:order val="4"/>
          <c:tx>
            <c:strRef>
              <c:f>Sheet1!$F$1</c:f>
              <c:strCache>
                <c:ptCount val="1"/>
                <c:pt idx="0">
                  <c:v>MWRA South</c:v>
                </c:pt>
              </c:strCache>
            </c:strRef>
          </c:tx>
          <c:spPr>
            <a:ln w="19050" cap="rnd">
              <a:solidFill>
                <a:schemeClr val="accent5"/>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F$32:$F$132</c:f>
              <c:numCache>
                <c:formatCode>General</c:formatCode>
                <c:ptCount val="101"/>
                <c:pt idx="3" formatCode="0">
                  <c:v>628</c:v>
                </c:pt>
                <c:pt idx="4" formatCode="0">
                  <c:v>664</c:v>
                </c:pt>
                <c:pt idx="5" formatCode="0">
                  <c:v>687</c:v>
                </c:pt>
                <c:pt idx="6" formatCode="0">
                  <c:v>710</c:v>
                </c:pt>
                <c:pt idx="7" formatCode="0">
                  <c:v>754</c:v>
                </c:pt>
                <c:pt idx="8" formatCode="0">
                  <c:v>810</c:v>
                </c:pt>
                <c:pt idx="9" formatCode="0">
                  <c:v>858</c:v>
                </c:pt>
                <c:pt idx="10" formatCode="0">
                  <c:v>902</c:v>
                </c:pt>
                <c:pt idx="11" formatCode="0">
                  <c:v>1041</c:v>
                </c:pt>
                <c:pt idx="12" formatCode="0">
                  <c:v>1113</c:v>
                </c:pt>
                <c:pt idx="13" formatCode="0">
                  <c:v>1209</c:v>
                </c:pt>
                <c:pt idx="14" formatCode="0">
                  <c:v>1289</c:v>
                </c:pt>
                <c:pt idx="15" formatCode="0">
                  <c:v>1296</c:v>
                </c:pt>
                <c:pt idx="16" formatCode="0">
                  <c:v>1332</c:v>
                </c:pt>
                <c:pt idx="17" formatCode="0">
                  <c:v>1311</c:v>
                </c:pt>
                <c:pt idx="18" formatCode="0">
                  <c:v>1146</c:v>
                </c:pt>
                <c:pt idx="19" formatCode="0">
                  <c:v>1061</c:v>
                </c:pt>
                <c:pt idx="20" formatCode="0">
                  <c:v>963</c:v>
                </c:pt>
                <c:pt idx="21" formatCode="0">
                  <c:v>949</c:v>
                </c:pt>
                <c:pt idx="22" formatCode="0">
                  <c:v>925</c:v>
                </c:pt>
                <c:pt idx="23" formatCode="0">
                  <c:v>871</c:v>
                </c:pt>
                <c:pt idx="24" formatCode="0">
                  <c:v>851</c:v>
                </c:pt>
                <c:pt idx="25" formatCode="0">
                  <c:v>851</c:v>
                </c:pt>
                <c:pt idx="26" formatCode="0">
                  <c:v>892</c:v>
                </c:pt>
                <c:pt idx="27" formatCode="0">
                  <c:v>828</c:v>
                </c:pt>
                <c:pt idx="28" formatCode="0">
                  <c:v>770</c:v>
                </c:pt>
                <c:pt idx="29" formatCode="0">
                  <c:v>733</c:v>
                </c:pt>
                <c:pt idx="30" formatCode="0">
                  <c:v>730</c:v>
                </c:pt>
                <c:pt idx="31" formatCode="0">
                  <c:v>720</c:v>
                </c:pt>
                <c:pt idx="32" formatCode="0">
                  <c:v>740</c:v>
                </c:pt>
                <c:pt idx="33" formatCode="0">
                  <c:v>704</c:v>
                </c:pt>
                <c:pt idx="34" formatCode="0">
                  <c:v>736</c:v>
                </c:pt>
                <c:pt idx="35" formatCode="0">
                  <c:v>733</c:v>
                </c:pt>
                <c:pt idx="36" formatCode="0">
                  <c:v>728</c:v>
                </c:pt>
                <c:pt idx="37" formatCode="0">
                  <c:v>742</c:v>
                </c:pt>
                <c:pt idx="38" formatCode="0">
                  <c:v>696</c:v>
                </c:pt>
                <c:pt idx="39" formatCode="0">
                  <c:v>665</c:v>
                </c:pt>
                <c:pt idx="40" formatCode="0">
                  <c:v>667</c:v>
                </c:pt>
                <c:pt idx="41" formatCode="0">
                  <c:v>672</c:v>
                </c:pt>
                <c:pt idx="42" formatCode="0">
                  <c:v>702</c:v>
                </c:pt>
                <c:pt idx="43" formatCode="0">
                  <c:v>682</c:v>
                </c:pt>
                <c:pt idx="44" formatCode="0">
                  <c:v>642</c:v>
                </c:pt>
                <c:pt idx="45" formatCode="0">
                  <c:v>745</c:v>
                </c:pt>
                <c:pt idx="46" formatCode="0">
                  <c:v>732</c:v>
                </c:pt>
                <c:pt idx="47" formatCode="0">
                  <c:v>663</c:v>
                </c:pt>
                <c:pt idx="48" formatCode="0">
                  <c:v>610</c:v>
                </c:pt>
                <c:pt idx="49" formatCode="0">
                  <c:v>642</c:v>
                </c:pt>
                <c:pt idx="50" formatCode="0">
                  <c:v>623</c:v>
                </c:pt>
                <c:pt idx="51" formatCode="0">
                  <c:v>615</c:v>
                </c:pt>
                <c:pt idx="52" formatCode="0">
                  <c:v>558</c:v>
                </c:pt>
                <c:pt idx="53" formatCode="0">
                  <c:v>548</c:v>
                </c:pt>
                <c:pt idx="54" formatCode="0">
                  <c:v>561</c:v>
                </c:pt>
                <c:pt idx="55" formatCode="0">
                  <c:v>589</c:v>
                </c:pt>
                <c:pt idx="56" formatCode="0">
                  <c:v>550</c:v>
                </c:pt>
                <c:pt idx="57" formatCode="0">
                  <c:v>584</c:v>
                </c:pt>
                <c:pt idx="58" formatCode="0">
                  <c:v>624</c:v>
                </c:pt>
                <c:pt idx="59" formatCode="0">
                  <c:v>606</c:v>
                </c:pt>
                <c:pt idx="60" formatCode="0">
                  <c:v>600</c:v>
                </c:pt>
                <c:pt idx="61" formatCode="0">
                  <c:v>658</c:v>
                </c:pt>
                <c:pt idx="62" formatCode="0">
                  <c:v>694</c:v>
                </c:pt>
                <c:pt idx="63" formatCode="0">
                  <c:v>739</c:v>
                </c:pt>
                <c:pt idx="64" formatCode="0">
                  <c:v>738</c:v>
                </c:pt>
                <c:pt idx="65" formatCode="0">
                  <c:v>714</c:v>
                </c:pt>
                <c:pt idx="66" formatCode="0">
                  <c:v>556.31226950000007</c:v>
                </c:pt>
                <c:pt idx="67" formatCode="0">
                  <c:v>504.29728293333341</c:v>
                </c:pt>
                <c:pt idx="68" formatCode="0">
                  <c:v>544.61712370000009</c:v>
                </c:pt>
                <c:pt idx="69" formatCode="0">
                  <c:v>578.67181416000005</c:v>
                </c:pt>
                <c:pt idx="70" formatCode="0">
                  <c:v>602.72730331666673</c:v>
                </c:pt>
                <c:pt idx="71" formatCode="0">
                  <c:v>606.26147912857141</c:v>
                </c:pt>
                <c:pt idx="72" formatCode="0">
                  <c:v>626.86731714285713</c:v>
                </c:pt>
                <c:pt idx="73" formatCode="0">
                  <c:v>686.82263761428578</c:v>
                </c:pt>
                <c:pt idx="74" formatCode="0">
                  <c:v>728.60659652857146</c:v>
                </c:pt>
                <c:pt idx="75" formatCode="0">
                  <c:v>734.59334000000013</c:v>
                </c:pt>
                <c:pt idx="76" formatCode="0">
                  <c:v>705.78851122857145</c:v>
                </c:pt>
                <c:pt idx="77" formatCode="0">
                  <c:v>694.69258052857151</c:v>
                </c:pt>
                <c:pt idx="78" formatCode="0">
                  <c:v>678.0999243857143</c:v>
                </c:pt>
                <c:pt idx="79" formatCode="0">
                  <c:v>688.58533378571428</c:v>
                </c:pt>
                <c:pt idx="80" formatCode="0">
                  <c:v>633.8347879142857</c:v>
                </c:pt>
                <c:pt idx="81" formatCode="0">
                  <c:v>661.29822881428572</c:v>
                </c:pt>
                <c:pt idx="82" formatCode="0">
                  <c:v>653.76807939999992</c:v>
                </c:pt>
                <c:pt idx="83" formatCode="0">
                  <c:v>663.10567781428574</c:v>
                </c:pt>
                <c:pt idx="84" formatCode="0">
                  <c:v>655.24406548571437</c:v>
                </c:pt>
                <c:pt idx="85" formatCode="0">
                  <c:v>677.55431571428562</c:v>
                </c:pt>
                <c:pt idx="86" formatCode="0">
                  <c:v>633.88765222857148</c:v>
                </c:pt>
                <c:pt idx="87" formatCode="0">
                  <c:v>624.86512582857142</c:v>
                </c:pt>
                <c:pt idx="88" formatCode="0">
                  <c:v>578.46564099999989</c:v>
                </c:pt>
                <c:pt idx="89" formatCode="0">
                  <c:v>580.17530231428566</c:v>
                </c:pt>
                <c:pt idx="90" formatCode="0">
                  <c:v>560.66510152857143</c:v>
                </c:pt>
                <c:pt idx="91" formatCode="0">
                  <c:v>588.14669477142866</c:v>
                </c:pt>
                <c:pt idx="92" formatCode="0">
                  <c:v>602.95460392857137</c:v>
                </c:pt>
                <c:pt idx="93" formatCode="0">
                  <c:v>622.71551425714279</c:v>
                </c:pt>
                <c:pt idx="94" formatCode="0">
                  <c:v>630.0179298571428</c:v>
                </c:pt>
                <c:pt idx="95" formatCode="0">
                  <c:v>645.58298437142844</c:v>
                </c:pt>
                <c:pt idx="96" formatCode="0">
                  <c:v>616.12857387142867</c:v>
                </c:pt>
                <c:pt idx="97" formatCode="0">
                  <c:v>630.6338208285714</c:v>
                </c:pt>
                <c:pt idx="98" formatCode="0">
                  <c:v>596.5579339285714</c:v>
                </c:pt>
                <c:pt idx="99" formatCode="0">
                  <c:v>561.32504778571433</c:v>
                </c:pt>
                <c:pt idx="100" formatCode="0">
                  <c:v>551.00368256666673</c:v>
                </c:pt>
              </c:numCache>
            </c:numRef>
          </c:val>
          <c:smooth val="1"/>
          <c:extLst>
            <c:ext xmlns:c16="http://schemas.microsoft.com/office/drawing/2014/chart" uri="{C3380CC4-5D6E-409C-BE32-E72D297353CC}">
              <c16:uniqueId val="{00000004-D184-4EB7-83A9-0FA1FBEC78ED}"/>
            </c:ext>
          </c:extLst>
        </c:ser>
        <c:ser>
          <c:idx val="5"/>
          <c:order val="5"/>
          <c:tx>
            <c:strRef>
              <c:f>Sheet1!$G$1</c:f>
              <c:strCache>
                <c:ptCount val="1"/>
                <c:pt idx="0">
                  <c:v>Peabody</c:v>
                </c:pt>
              </c:strCache>
            </c:strRef>
          </c:tx>
          <c:spPr>
            <a:ln w="19050" cap="rnd">
              <a:solidFill>
                <a:schemeClr val="accent6"/>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G$32:$G$132</c:f>
              <c:numCache>
                <c:formatCode>0</c:formatCode>
                <c:ptCount val="101"/>
                <c:pt idx="0">
                  <c:v>868.72585000000015</c:v>
                </c:pt>
                <c:pt idx="1">
                  <c:v>852.10460499999999</c:v>
                </c:pt>
                <c:pt idx="2">
                  <c:v>925.48468774999992</c:v>
                </c:pt>
                <c:pt idx="3">
                  <c:v>940.62364119999995</c:v>
                </c:pt>
                <c:pt idx="4">
                  <c:v>975.87244420000013</c:v>
                </c:pt>
                <c:pt idx="5">
                  <c:v>975.87244420000013</c:v>
                </c:pt>
                <c:pt idx="6">
                  <c:v>1166.24455515</c:v>
                </c:pt>
                <c:pt idx="7">
                  <c:v>1166.24455515</c:v>
                </c:pt>
                <c:pt idx="8">
                  <c:v>1180.4662178999999</c:v>
                </c:pt>
                <c:pt idx="9">
                  <c:v>1192.0799785333331</c:v>
                </c:pt>
                <c:pt idx="10">
                  <c:v>1544.8926483333332</c:v>
                </c:pt>
                <c:pt idx="11">
                  <c:v>1544.8926483333332</c:v>
                </c:pt>
                <c:pt idx="12">
                  <c:v>1549.2520949999998</c:v>
                </c:pt>
                <c:pt idx="13">
                  <c:v>1486.549164</c:v>
                </c:pt>
                <c:pt idx="14">
                  <c:v>1486.549164</c:v>
                </c:pt>
                <c:pt idx="15">
                  <c:v>1540.5311453333334</c:v>
                </c:pt>
                <c:pt idx="16">
                  <c:v>1540.5311453333334</c:v>
                </c:pt>
                <c:pt idx="17">
                  <c:v>1362.1391513333331</c:v>
                </c:pt>
                <c:pt idx="18">
                  <c:v>1299.1501297499999</c:v>
                </c:pt>
                <c:pt idx="19">
                  <c:v>1211.4233613333333</c:v>
                </c:pt>
                <c:pt idx="20">
                  <c:v>1287.371224</c:v>
                </c:pt>
                <c:pt idx="21">
                  <c:v>1287.371224</c:v>
                </c:pt>
                <c:pt idx="22">
                  <c:v>1122.6665174249999</c:v>
                </c:pt>
                <c:pt idx="23">
                  <c:v>1122.6665174249999</c:v>
                </c:pt>
                <c:pt idx="24">
                  <c:v>1097.813877675</c:v>
                </c:pt>
                <c:pt idx="25">
                  <c:v>1093.6908152333333</c:v>
                </c:pt>
                <c:pt idx="26">
                  <c:v>1089.0638621749999</c:v>
                </c:pt>
                <c:pt idx="27">
                  <c:v>947.01354556666672</c:v>
                </c:pt>
                <c:pt idx="28">
                  <c:v>981.60512217500002</c:v>
                </c:pt>
                <c:pt idx="29">
                  <c:v>1099.1062576666666</c:v>
                </c:pt>
                <c:pt idx="30">
                  <c:v>1013.951537475</c:v>
                </c:pt>
                <c:pt idx="31">
                  <c:v>973.0167439666667</c:v>
                </c:pt>
                <c:pt idx="32">
                  <c:v>993.97557997500007</c:v>
                </c:pt>
                <c:pt idx="33">
                  <c:v>966.90643896666677</c:v>
                </c:pt>
                <c:pt idx="34">
                  <c:v>969.07276840000009</c:v>
                </c:pt>
                <c:pt idx="35">
                  <c:v>930.30374053333344</c:v>
                </c:pt>
                <c:pt idx="36">
                  <c:v>940.65863407500001</c:v>
                </c:pt>
                <c:pt idx="37">
                  <c:v>1001.3823864666668</c:v>
                </c:pt>
                <c:pt idx="38">
                  <c:v>1030.6385223500001</c:v>
                </c:pt>
                <c:pt idx="39">
                  <c:v>1021.9006671333333</c:v>
                </c:pt>
                <c:pt idx="40">
                  <c:v>988.75588567499994</c:v>
                </c:pt>
                <c:pt idx="41">
                  <c:v>993.15059533333317</c:v>
                </c:pt>
                <c:pt idx="42">
                  <c:v>955.07137807499987</c:v>
                </c:pt>
                <c:pt idx="43">
                  <c:v>949.52073253333322</c:v>
                </c:pt>
                <c:pt idx="44">
                  <c:v>991.25609214999997</c:v>
                </c:pt>
                <c:pt idx="45">
                  <c:v>948.87247953333338</c:v>
                </c:pt>
                <c:pt idx="46">
                  <c:v>845.17077405000009</c:v>
                </c:pt>
                <c:pt idx="47">
                  <c:v>830.45385163333333</c:v>
                </c:pt>
                <c:pt idx="48">
                  <c:v>747.01805767500002</c:v>
                </c:pt>
                <c:pt idx="49">
                  <c:v>715.74616813333341</c:v>
                </c:pt>
                <c:pt idx="50">
                  <c:v>739.86429480000004</c:v>
                </c:pt>
                <c:pt idx="51">
                  <c:v>614.33166940000001</c:v>
                </c:pt>
                <c:pt idx="52">
                  <c:v>727.65283655000007</c:v>
                </c:pt>
                <c:pt idx="53">
                  <c:v>792.1818962000001</c:v>
                </c:pt>
                <c:pt idx="54">
                  <c:v>792.53618302500001</c:v>
                </c:pt>
                <c:pt idx="55">
                  <c:v>891.14468543333339</c:v>
                </c:pt>
                <c:pt idx="56">
                  <c:v>1498.748960575</c:v>
                </c:pt>
                <c:pt idx="57">
                  <c:v>1727.5923891666669</c:v>
                </c:pt>
                <c:pt idx="58">
                  <c:v>1535.6263468000002</c:v>
                </c:pt>
                <c:pt idx="59">
                  <c:v>1691.6296830666668</c:v>
                </c:pt>
                <c:pt idx="60">
                  <c:v>1522.96045205</c:v>
                </c:pt>
                <c:pt idx="61">
                  <c:v>1766.0809215666666</c:v>
                </c:pt>
                <c:pt idx="62">
                  <c:v>1616.4933119249999</c:v>
                </c:pt>
                <c:pt idx="63">
                  <c:v>1048.1371539000002</c:v>
                </c:pt>
                <c:pt idx="64">
                  <c:v>1133.4127781750001</c:v>
                </c:pt>
                <c:pt idx="65">
                  <c:v>1191.3076309999999</c:v>
                </c:pt>
                <c:pt idx="66">
                  <c:v>1103.346124425</c:v>
                </c:pt>
                <c:pt idx="67">
                  <c:v>1132.1439129</c:v>
                </c:pt>
                <c:pt idx="68">
                  <c:v>1039.36162545</c:v>
                </c:pt>
                <c:pt idx="69">
                  <c:v>996.57200626666679</c:v>
                </c:pt>
                <c:pt idx="70">
                  <c:v>945.3434029</c:v>
                </c:pt>
                <c:pt idx="71">
                  <c:v>797.37798686666667</c:v>
                </c:pt>
                <c:pt idx="72">
                  <c:v>864.80593165000005</c:v>
                </c:pt>
                <c:pt idx="73">
                  <c:v>873.25404063333337</c:v>
                </c:pt>
                <c:pt idx="74">
                  <c:v>994.45634247500004</c:v>
                </c:pt>
                <c:pt idx="75">
                  <c:v>1072.2702022666665</c:v>
                </c:pt>
                <c:pt idx="76">
                  <c:v>1076.9671847</c:v>
                </c:pt>
                <c:pt idx="77">
                  <c:v>1172.0703819999999</c:v>
                </c:pt>
                <c:pt idx="78">
                  <c:v>1575.2030159999999</c:v>
                </c:pt>
                <c:pt idx="79">
                  <c:v>1744.5740993333332</c:v>
                </c:pt>
                <c:pt idx="80">
                  <c:v>1689.3293127499999</c:v>
                </c:pt>
                <c:pt idx="81">
                  <c:v>1799.7513343333333</c:v>
                </c:pt>
                <c:pt idx="82">
                  <c:v>1702.5024577500001</c:v>
                </c:pt>
                <c:pt idx="83">
                  <c:v>1906.317233</c:v>
                </c:pt>
                <c:pt idx="84">
                  <c:v>2455.21656975</c:v>
                </c:pt>
                <c:pt idx="85">
                  <c:v>2345.4217869999998</c:v>
                </c:pt>
                <c:pt idx="86">
                  <c:v>2101.5508749999999</c:v>
                </c:pt>
                <c:pt idx="87">
                  <c:v>2294.2028489999998</c:v>
                </c:pt>
                <c:pt idx="88">
                  <c:v>2205.40369925</c:v>
                </c:pt>
                <c:pt idx="89">
                  <c:v>2470.2863229999998</c:v>
                </c:pt>
                <c:pt idx="90">
                  <c:v>2159.6505219999999</c:v>
                </c:pt>
                <c:pt idx="91">
                  <c:v>1512.2291693333334</c:v>
                </c:pt>
                <c:pt idx="92">
                  <c:v>1387.873955</c:v>
                </c:pt>
                <c:pt idx="93">
                  <c:v>1393.8525603333335</c:v>
                </c:pt>
                <c:pt idx="94">
                  <c:v>1377.1218812500001</c:v>
                </c:pt>
                <c:pt idx="95">
                  <c:v>1189.8270916666668</c:v>
                </c:pt>
                <c:pt idx="96">
                  <c:v>1149.8219610000001</c:v>
                </c:pt>
                <c:pt idx="97">
                  <c:v>1123.8482416666666</c:v>
                </c:pt>
                <c:pt idx="98">
                  <c:v>1123.8482416666666</c:v>
                </c:pt>
                <c:pt idx="99">
                  <c:v>1178.3682065</c:v>
                </c:pt>
                <c:pt idx="100">
                  <c:v>1178.3682065</c:v>
                </c:pt>
              </c:numCache>
            </c:numRef>
          </c:val>
          <c:smooth val="0"/>
          <c:extLst>
            <c:ext xmlns:c16="http://schemas.microsoft.com/office/drawing/2014/chart" uri="{C3380CC4-5D6E-409C-BE32-E72D297353CC}">
              <c16:uniqueId val="{00000005-D184-4EB7-83A9-0FA1FBEC78ED}"/>
            </c:ext>
          </c:extLst>
        </c:ser>
        <c:ser>
          <c:idx val="6"/>
          <c:order val="6"/>
          <c:tx>
            <c:strRef>
              <c:f>Sheet1!$H$1</c:f>
              <c:strCache>
                <c:ptCount val="1"/>
                <c:pt idx="0">
                  <c:v>Salem</c:v>
                </c:pt>
              </c:strCache>
            </c:strRef>
          </c:tx>
          <c:spPr>
            <a:ln w="15875" cap="rnd">
              <a:solidFill>
                <a:schemeClr val="tx2"/>
              </a:solidFill>
              <a:round/>
            </a:ln>
            <a:effectLst/>
          </c:spPr>
          <c:marker>
            <c:symbol val="none"/>
          </c:marker>
          <c:cat>
            <c:numRef>
              <c:f>Sheet1!$A$32:$A$13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H$32:$H$132</c:f>
              <c:numCache>
                <c:formatCode>0</c:formatCode>
                <c:ptCount val="101"/>
                <c:pt idx="0">
                  <c:v>774.54049307499986</c:v>
                </c:pt>
                <c:pt idx="1">
                  <c:v>812.00563726666667</c:v>
                </c:pt>
                <c:pt idx="2">
                  <c:v>864.51963894999994</c:v>
                </c:pt>
                <c:pt idx="3">
                  <c:v>961.34532357499995</c:v>
                </c:pt>
                <c:pt idx="4">
                  <c:v>1029.7201842666666</c:v>
                </c:pt>
                <c:pt idx="5">
                  <c:v>1208.2090799499999</c:v>
                </c:pt>
                <c:pt idx="6">
                  <c:v>1208.2090799499999</c:v>
                </c:pt>
                <c:pt idx="7">
                  <c:v>1242.8128662666666</c:v>
                </c:pt>
                <c:pt idx="8">
                  <c:v>1210.7414314499999</c:v>
                </c:pt>
                <c:pt idx="9">
                  <c:v>1273.6346939333334</c:v>
                </c:pt>
                <c:pt idx="10">
                  <c:v>1452.2116463333332</c:v>
                </c:pt>
                <c:pt idx="11">
                  <c:v>1452.2116463333332</c:v>
                </c:pt>
                <c:pt idx="12">
                  <c:v>1228.9363539999999</c:v>
                </c:pt>
                <c:pt idx="13">
                  <c:v>1228.9363539999999</c:v>
                </c:pt>
                <c:pt idx="14">
                  <c:v>1228.9363539999999</c:v>
                </c:pt>
                <c:pt idx="15">
                  <c:v>1448.2899850000001</c:v>
                </c:pt>
                <c:pt idx="16">
                  <c:v>1448.2899850000001</c:v>
                </c:pt>
                <c:pt idx="17">
                  <c:v>1152.4541594333332</c:v>
                </c:pt>
                <c:pt idx="18">
                  <c:v>1150.4263985749999</c:v>
                </c:pt>
                <c:pt idx="19">
                  <c:v>1175.9519014333334</c:v>
                </c:pt>
                <c:pt idx="20">
                  <c:v>1156.9332685750001</c:v>
                </c:pt>
                <c:pt idx="21">
                  <c:v>1156.9332685750001</c:v>
                </c:pt>
                <c:pt idx="22">
                  <c:v>941.24269672500009</c:v>
                </c:pt>
                <c:pt idx="23">
                  <c:v>941.24269672500009</c:v>
                </c:pt>
                <c:pt idx="24">
                  <c:v>1001.7753376000001</c:v>
                </c:pt>
                <c:pt idx="25">
                  <c:v>954.25274480000007</c:v>
                </c:pt>
                <c:pt idx="26">
                  <c:v>967.24803710000003</c:v>
                </c:pt>
                <c:pt idx="27">
                  <c:v>923.03825946666666</c:v>
                </c:pt>
                <c:pt idx="28">
                  <c:v>888.55383667499996</c:v>
                </c:pt>
                <c:pt idx="29">
                  <c:v>881.46320470000012</c:v>
                </c:pt>
                <c:pt idx="30">
                  <c:v>793.68024307500013</c:v>
                </c:pt>
                <c:pt idx="31">
                  <c:v>773.88861350000013</c:v>
                </c:pt>
                <c:pt idx="32">
                  <c:v>758.60419397500004</c:v>
                </c:pt>
                <c:pt idx="33">
                  <c:v>676.06095396666672</c:v>
                </c:pt>
                <c:pt idx="34">
                  <c:v>773.42576497500011</c:v>
                </c:pt>
                <c:pt idx="35">
                  <c:v>769.53416386666674</c:v>
                </c:pt>
                <c:pt idx="36">
                  <c:v>784.10128680000003</c:v>
                </c:pt>
                <c:pt idx="37">
                  <c:v>868.69126300000005</c:v>
                </c:pt>
                <c:pt idx="38">
                  <c:v>861.14845860000003</c:v>
                </c:pt>
                <c:pt idx="39">
                  <c:v>910.61429966666674</c:v>
                </c:pt>
                <c:pt idx="40">
                  <c:v>1159.7892642500001</c:v>
                </c:pt>
                <c:pt idx="41">
                  <c:v>1191.2122863333334</c:v>
                </c:pt>
                <c:pt idx="42">
                  <c:v>1089.14925255</c:v>
                </c:pt>
                <c:pt idx="43">
                  <c:v>1176.2647848666668</c:v>
                </c:pt>
                <c:pt idx="44">
                  <c:v>972.36647337500006</c:v>
                </c:pt>
                <c:pt idx="45">
                  <c:v>1016.9819493666668</c:v>
                </c:pt>
                <c:pt idx="46">
                  <c:v>929.55276020000008</c:v>
                </c:pt>
                <c:pt idx="47">
                  <c:v>603.63229426666669</c:v>
                </c:pt>
                <c:pt idx="48">
                  <c:v>608.15548522500012</c:v>
                </c:pt>
                <c:pt idx="49">
                  <c:v>549.88726323333333</c:v>
                </c:pt>
                <c:pt idx="50">
                  <c:v>596.76331922500003</c:v>
                </c:pt>
                <c:pt idx="51">
                  <c:v>675.46057933333338</c:v>
                </c:pt>
                <c:pt idx="52">
                  <c:v>646.23233419999997</c:v>
                </c:pt>
                <c:pt idx="53">
                  <c:v>639.22138136666672</c:v>
                </c:pt>
                <c:pt idx="54">
                  <c:v>660.50706582500004</c:v>
                </c:pt>
                <c:pt idx="55">
                  <c:v>673.4344017333334</c:v>
                </c:pt>
                <c:pt idx="56">
                  <c:v>666.49678812499997</c:v>
                </c:pt>
                <c:pt idx="57">
                  <c:v>642.86522176666665</c:v>
                </c:pt>
                <c:pt idx="58">
                  <c:v>626.40215039999998</c:v>
                </c:pt>
                <c:pt idx="59">
                  <c:v>649.02033426666674</c:v>
                </c:pt>
                <c:pt idx="60">
                  <c:v>914.85068395000008</c:v>
                </c:pt>
                <c:pt idx="61">
                  <c:v>978.34620553333332</c:v>
                </c:pt>
                <c:pt idx="62">
                  <c:v>966.72568367499991</c:v>
                </c:pt>
                <c:pt idx="63">
                  <c:v>1073.7395958</c:v>
                </c:pt>
                <c:pt idx="64">
                  <c:v>1037.0001544749998</c:v>
                </c:pt>
                <c:pt idx="65">
                  <c:v>1190.3292272000001</c:v>
                </c:pt>
                <c:pt idx="66">
                  <c:v>1124.7911284249999</c:v>
                </c:pt>
                <c:pt idx="67">
                  <c:v>928.94092689999991</c:v>
                </c:pt>
                <c:pt idx="68">
                  <c:v>953.39396792499997</c:v>
                </c:pt>
                <c:pt idx="69">
                  <c:v>960.57058453333332</c:v>
                </c:pt>
                <c:pt idx="70">
                  <c:v>952.35978445000001</c:v>
                </c:pt>
                <c:pt idx="71">
                  <c:v>960.88576909999995</c:v>
                </c:pt>
                <c:pt idx="72">
                  <c:v>909.82084867499998</c:v>
                </c:pt>
                <c:pt idx="73">
                  <c:v>903.70218753333336</c:v>
                </c:pt>
                <c:pt idx="74">
                  <c:v>1017.3403843999999</c:v>
                </c:pt>
                <c:pt idx="75">
                  <c:v>1014.2028155333334</c:v>
                </c:pt>
                <c:pt idx="76">
                  <c:v>1094.41997115</c:v>
                </c:pt>
                <c:pt idx="77">
                  <c:v>1149.9841667999999</c:v>
                </c:pt>
                <c:pt idx="78">
                  <c:v>1220.4614098499999</c:v>
                </c:pt>
                <c:pt idx="79">
                  <c:v>1375.0731840000001</c:v>
                </c:pt>
                <c:pt idx="80">
                  <c:v>1247.03003635</c:v>
                </c:pt>
                <c:pt idx="81">
                  <c:v>1209.9550568000002</c:v>
                </c:pt>
                <c:pt idx="82">
                  <c:v>1261.5422296000002</c:v>
                </c:pt>
                <c:pt idx="83">
                  <c:v>1237.0324934666667</c:v>
                </c:pt>
                <c:pt idx="84">
                  <c:v>1171.2622921</c:v>
                </c:pt>
                <c:pt idx="85">
                  <c:v>1084.3853431333334</c:v>
                </c:pt>
                <c:pt idx="86">
                  <c:v>1275.33395135</c:v>
                </c:pt>
                <c:pt idx="87">
                  <c:v>1412.8117373333334</c:v>
                </c:pt>
                <c:pt idx="88">
                  <c:v>1295.35063485</c:v>
                </c:pt>
                <c:pt idx="89">
                  <c:v>1255.0329304666666</c:v>
                </c:pt>
                <c:pt idx="90">
                  <c:v>1211.5509608499999</c:v>
                </c:pt>
                <c:pt idx="91">
                  <c:v>1290.7507184666667</c:v>
                </c:pt>
                <c:pt idx="92">
                  <c:v>1210.434626425</c:v>
                </c:pt>
                <c:pt idx="93">
                  <c:v>997.85290989999987</c:v>
                </c:pt>
                <c:pt idx="94">
                  <c:v>999.03203917499991</c:v>
                </c:pt>
                <c:pt idx="95">
                  <c:v>1017.7202764333333</c:v>
                </c:pt>
                <c:pt idx="96">
                  <c:v>1022.7383983249999</c:v>
                </c:pt>
                <c:pt idx="97">
                  <c:v>1003.2828470999999</c:v>
                </c:pt>
                <c:pt idx="98">
                  <c:v>910.84931592499993</c:v>
                </c:pt>
                <c:pt idx="99">
                  <c:v>891.30363780000005</c:v>
                </c:pt>
                <c:pt idx="100">
                  <c:v>891.30363780000005</c:v>
                </c:pt>
              </c:numCache>
            </c:numRef>
          </c:val>
          <c:smooth val="0"/>
          <c:extLst>
            <c:ext xmlns:c16="http://schemas.microsoft.com/office/drawing/2014/chart" uri="{C3380CC4-5D6E-409C-BE32-E72D297353CC}">
              <c16:uniqueId val="{00000006-D184-4EB7-83A9-0FA1FBEC78ED}"/>
            </c:ext>
          </c:extLst>
        </c:ser>
        <c:dLbls>
          <c:showLegendKey val="0"/>
          <c:showVal val="0"/>
          <c:showCatName val="0"/>
          <c:showSerName val="0"/>
          <c:showPercent val="0"/>
          <c:showBubbleSize val="0"/>
        </c:dLbls>
        <c:smooth val="0"/>
        <c:axId val="494445784"/>
        <c:axId val="494447424"/>
      </c:lineChart>
      <c:dateAx>
        <c:axId val="494445784"/>
        <c:scaling>
          <c:orientation val="minMax"/>
          <c:max val="44782"/>
          <c:min val="44726"/>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4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7580060549135"/>
          <c:y val="6.6738920446538619E-2"/>
          <c:w val="0.81931293288947693"/>
          <c:h val="0.86652220107470168"/>
        </c:manualLayout>
      </c:layout>
      <c:lineChart>
        <c:grouping val="standard"/>
        <c:varyColors val="0"/>
        <c:ser>
          <c:idx val="0"/>
          <c:order val="0"/>
          <c:tx>
            <c:strRef>
              <c:f>Sheet1!$B$1</c:f>
              <c:strCache>
                <c:ptCount val="1"/>
                <c:pt idx="0">
                  <c:v>Athol</c:v>
                </c:pt>
              </c:strCache>
            </c:strRef>
          </c:tx>
          <c:spPr>
            <a:ln w="19050" cap="rnd">
              <a:solidFill>
                <a:schemeClr val="accent1"/>
              </a:solidFill>
              <a:round/>
            </a:ln>
            <a:effectLst/>
          </c:spPr>
          <c:marker>
            <c:symbol val="none"/>
          </c:marker>
          <c:cat>
            <c:numRef>
              <c:f>Sheet1!$A$2:$A$10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B$2:$B$102</c:f>
              <c:numCache>
                <c:formatCode>#,##0</c:formatCode>
                <c:ptCount val="101"/>
                <c:pt idx="0">
                  <c:v>1536.5</c:v>
                </c:pt>
                <c:pt idx="1">
                  <c:v>1852.5</c:v>
                </c:pt>
                <c:pt idx="2">
                  <c:v>1786.25</c:v>
                </c:pt>
                <c:pt idx="3">
                  <c:v>1164.75</c:v>
                </c:pt>
                <c:pt idx="4">
                  <c:v>1532.25</c:v>
                </c:pt>
                <c:pt idx="5">
                  <c:v>1532.25</c:v>
                </c:pt>
                <c:pt idx="6">
                  <c:v>1532.25</c:v>
                </c:pt>
                <c:pt idx="7">
                  <c:v>1532.25</c:v>
                </c:pt>
                <c:pt idx="8">
                  <c:v>1414.25</c:v>
                </c:pt>
                <c:pt idx="9">
                  <c:v>1555</c:v>
                </c:pt>
                <c:pt idx="10">
                  <c:v>1572.75</c:v>
                </c:pt>
                <c:pt idx="11">
                  <c:v>1240.5</c:v>
                </c:pt>
                <c:pt idx="12">
                  <c:v>1240.5</c:v>
                </c:pt>
                <c:pt idx="13">
                  <c:v>1240.5</c:v>
                </c:pt>
                <c:pt idx="14">
                  <c:v>1240.5</c:v>
                </c:pt>
                <c:pt idx="15">
                  <c:v>1277</c:v>
                </c:pt>
                <c:pt idx="16">
                  <c:v>1292.25</c:v>
                </c:pt>
                <c:pt idx="17">
                  <c:v>1448.25</c:v>
                </c:pt>
                <c:pt idx="18">
                  <c:v>1851.25</c:v>
                </c:pt>
                <c:pt idx="19">
                  <c:v>1851.25</c:v>
                </c:pt>
                <c:pt idx="20">
                  <c:v>1851.25</c:v>
                </c:pt>
                <c:pt idx="21">
                  <c:v>1851.25</c:v>
                </c:pt>
                <c:pt idx="22">
                  <c:v>1760.75</c:v>
                </c:pt>
                <c:pt idx="23">
                  <c:v>1695.25</c:v>
                </c:pt>
                <c:pt idx="24">
                  <c:v>1482.5</c:v>
                </c:pt>
                <c:pt idx="25">
                  <c:v>1076.5</c:v>
                </c:pt>
                <c:pt idx="26">
                  <c:v>1076.5</c:v>
                </c:pt>
                <c:pt idx="27">
                  <c:v>1076.5</c:v>
                </c:pt>
                <c:pt idx="28">
                  <c:v>1076.5</c:v>
                </c:pt>
                <c:pt idx="29">
                  <c:v>1020.6666666666666</c:v>
                </c:pt>
                <c:pt idx="30">
                  <c:v>831</c:v>
                </c:pt>
                <c:pt idx="31">
                  <c:v>902.33333333333337</c:v>
                </c:pt>
                <c:pt idx="32">
                  <c:v>735</c:v>
                </c:pt>
                <c:pt idx="33">
                  <c:v>735</c:v>
                </c:pt>
                <c:pt idx="34">
                  <c:v>735</c:v>
                </c:pt>
                <c:pt idx="35">
                  <c:v>735</c:v>
                </c:pt>
                <c:pt idx="36">
                  <c:v>1548.75</c:v>
                </c:pt>
                <c:pt idx="37">
                  <c:v>1685.75</c:v>
                </c:pt>
                <c:pt idx="38">
                  <c:v>1651</c:v>
                </c:pt>
                <c:pt idx="39">
                  <c:v>1822.25</c:v>
                </c:pt>
                <c:pt idx="40">
                  <c:v>1822.25</c:v>
                </c:pt>
                <c:pt idx="41">
                  <c:v>1822.25</c:v>
                </c:pt>
                <c:pt idx="42">
                  <c:v>1822.25</c:v>
                </c:pt>
                <c:pt idx="43">
                  <c:v>933</c:v>
                </c:pt>
                <c:pt idx="44">
                  <c:v>1317.75</c:v>
                </c:pt>
                <c:pt idx="45">
                  <c:v>1433.3333333333333</c:v>
                </c:pt>
                <c:pt idx="46">
                  <c:v>1516.5</c:v>
                </c:pt>
                <c:pt idx="47">
                  <c:v>1516.5</c:v>
                </c:pt>
                <c:pt idx="48">
                  <c:v>1516.5</c:v>
                </c:pt>
                <c:pt idx="49">
                  <c:v>1516.5</c:v>
                </c:pt>
                <c:pt idx="50">
                  <c:v>2301.5</c:v>
                </c:pt>
                <c:pt idx="51">
                  <c:v>1564.5</c:v>
                </c:pt>
                <c:pt idx="52">
                  <c:v>1372.6666666666667</c:v>
                </c:pt>
                <c:pt idx="53">
                  <c:v>1253.75</c:v>
                </c:pt>
                <c:pt idx="54">
                  <c:v>1253.75</c:v>
                </c:pt>
                <c:pt idx="55">
                  <c:v>1253.75</c:v>
                </c:pt>
                <c:pt idx="56">
                  <c:v>1253.75</c:v>
                </c:pt>
                <c:pt idx="57">
                  <c:v>894.5</c:v>
                </c:pt>
                <c:pt idx="58">
                  <c:v>755.5</c:v>
                </c:pt>
                <c:pt idx="59">
                  <c:v>1042.5</c:v>
                </c:pt>
                <c:pt idx="60">
                  <c:v>878.5</c:v>
                </c:pt>
                <c:pt idx="61">
                  <c:v>878.5</c:v>
                </c:pt>
                <c:pt idx="62">
                  <c:v>878.5</c:v>
                </c:pt>
                <c:pt idx="63">
                  <c:v>878.5</c:v>
                </c:pt>
                <c:pt idx="64">
                  <c:v>982.66666666666663</c:v>
                </c:pt>
                <c:pt idx="65">
                  <c:v>866.33333333333337</c:v>
                </c:pt>
                <c:pt idx="66">
                  <c:v>487</c:v>
                </c:pt>
                <c:pt idx="67" formatCode="0">
                  <c:v>649</c:v>
                </c:pt>
                <c:pt idx="68" formatCode="0">
                  <c:v>649</c:v>
                </c:pt>
                <c:pt idx="69" formatCode="0">
                  <c:v>648.77733333333333</c:v>
                </c:pt>
                <c:pt idx="70" formatCode="0">
                  <c:v>648.77733333333333</c:v>
                </c:pt>
                <c:pt idx="71" formatCode="0">
                  <c:v>969.33299999999997</c:v>
                </c:pt>
                <c:pt idx="72" formatCode="0">
                  <c:v>1269.8454999999999</c:v>
                </c:pt>
                <c:pt idx="73" formatCode="0">
                  <c:v>1137.68875</c:v>
                </c:pt>
                <c:pt idx="74" formatCode="0">
                  <c:v>1050.5</c:v>
                </c:pt>
                <c:pt idx="75" formatCode="0">
                  <c:v>1050.5</c:v>
                </c:pt>
                <c:pt idx="76" formatCode="0">
                  <c:v>1050.5</c:v>
                </c:pt>
                <c:pt idx="77" formatCode="0">
                  <c:v>1050.5</c:v>
                </c:pt>
                <c:pt idx="78" formatCode="0">
                  <c:v>662.5</c:v>
                </c:pt>
                <c:pt idx="79" formatCode="0">
                  <c:v>539.21174999999994</c:v>
                </c:pt>
                <c:pt idx="80" formatCode="0">
                  <c:v>568.4425</c:v>
                </c:pt>
                <c:pt idx="81" formatCode="0">
                  <c:v>631.52300000000002</c:v>
                </c:pt>
                <c:pt idx="82" formatCode="0">
                  <c:v>631.52300000000002</c:v>
                </c:pt>
                <c:pt idx="83" formatCode="0">
                  <c:v>631.52300000000002</c:v>
                </c:pt>
                <c:pt idx="84" formatCode="0">
                  <c:v>631.52300000000002</c:v>
                </c:pt>
                <c:pt idx="85" formatCode="0">
                  <c:v>718.79475000000002</c:v>
                </c:pt>
                <c:pt idx="86" formatCode="0">
                  <c:v>614.49075000000005</c:v>
                </c:pt>
                <c:pt idx="87" formatCode="0">
                  <c:v>574.548</c:v>
                </c:pt>
                <c:pt idx="88" formatCode="0">
                  <c:v>496.05699999999996</c:v>
                </c:pt>
                <c:pt idx="89" formatCode="0">
                  <c:v>496.05699999999996</c:v>
                </c:pt>
                <c:pt idx="90" formatCode="0">
                  <c:v>496.05699999999996</c:v>
                </c:pt>
                <c:pt idx="91" formatCode="0">
                  <c:v>635.44560000000001</c:v>
                </c:pt>
                <c:pt idx="92" formatCode="0">
                  <c:v>612.29088385</c:v>
                </c:pt>
                <c:pt idx="93" formatCode="0">
                  <c:v>896.65736277500002</c:v>
                </c:pt>
                <c:pt idx="94" formatCode="0">
                  <c:v>1588.2779435</c:v>
                </c:pt>
                <c:pt idx="95" formatCode="0">
                  <c:v>1729.7300446250001</c:v>
                </c:pt>
                <c:pt idx="96" formatCode="0">
                  <c:v>1729.7300446250001</c:v>
                </c:pt>
                <c:pt idx="97" formatCode="0">
                  <c:v>1729.7300446250001</c:v>
                </c:pt>
                <c:pt idx="98" formatCode="0">
                  <c:v>1908.5301868333336</c:v>
                </c:pt>
                <c:pt idx="99" formatCode="0">
                  <c:v>1783.4985618750002</c:v>
                </c:pt>
                <c:pt idx="100" formatCode="0">
                  <c:v>1828.5946065000001</c:v>
                </c:pt>
              </c:numCache>
            </c:numRef>
          </c:val>
          <c:smooth val="1"/>
          <c:extLst>
            <c:ext xmlns:c16="http://schemas.microsoft.com/office/drawing/2014/chart" uri="{C3380CC4-5D6E-409C-BE32-E72D297353CC}">
              <c16:uniqueId val="{00000000-82FF-494B-A3F3-FBB5BE507C79}"/>
            </c:ext>
          </c:extLst>
        </c:ser>
        <c:ser>
          <c:idx val="1"/>
          <c:order val="1"/>
          <c:tx>
            <c:strRef>
              <c:f>Sheet1!$C$1</c:f>
              <c:strCache>
                <c:ptCount val="1"/>
                <c:pt idx="0">
                  <c:v>Douglas</c:v>
                </c:pt>
              </c:strCache>
            </c:strRef>
          </c:tx>
          <c:spPr>
            <a:ln w="19050" cap="rnd">
              <a:solidFill>
                <a:schemeClr val="accent2"/>
              </a:solidFill>
              <a:round/>
            </a:ln>
            <a:effectLst/>
          </c:spPr>
          <c:marker>
            <c:symbol val="none"/>
          </c:marker>
          <c:cat>
            <c:numRef>
              <c:f>Sheet1!$A$2:$A$10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C$2:$C$102</c:f>
              <c:numCache>
                <c:formatCode>0</c:formatCode>
                <c:ptCount val="101"/>
              </c:numCache>
            </c:numRef>
          </c:val>
          <c:smooth val="1"/>
          <c:extLst>
            <c:ext xmlns:c16="http://schemas.microsoft.com/office/drawing/2014/chart" uri="{C3380CC4-5D6E-409C-BE32-E72D297353CC}">
              <c16:uniqueId val="{00000001-82FF-494B-A3F3-FBB5BE507C79}"/>
            </c:ext>
          </c:extLst>
        </c:ser>
        <c:ser>
          <c:idx val="2"/>
          <c:order val="2"/>
          <c:tx>
            <c:strRef>
              <c:f>Sheet1!$D$1</c:f>
              <c:strCache>
                <c:ptCount val="1"/>
                <c:pt idx="0">
                  <c:v>East Fitchburg</c:v>
                </c:pt>
              </c:strCache>
            </c:strRef>
          </c:tx>
          <c:spPr>
            <a:ln w="19050" cap="rnd">
              <a:solidFill>
                <a:schemeClr val="accent3">
                  <a:lumMod val="50000"/>
                </a:schemeClr>
              </a:solidFill>
              <a:round/>
            </a:ln>
            <a:effectLst/>
          </c:spPr>
          <c:marker>
            <c:symbol val="none"/>
          </c:marker>
          <c:cat>
            <c:numRef>
              <c:f>Sheet1!$A$2:$A$10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D$2:$D$102</c:f>
              <c:numCache>
                <c:formatCode>0</c:formatCode>
                <c:ptCount val="101"/>
                <c:pt idx="0">
                  <c:v>1192.2972500000001</c:v>
                </c:pt>
                <c:pt idx="1">
                  <c:v>608.06700000000001</c:v>
                </c:pt>
                <c:pt idx="2">
                  <c:v>562.28975000000003</c:v>
                </c:pt>
                <c:pt idx="3">
                  <c:v>664.52700000000004</c:v>
                </c:pt>
                <c:pt idx="4">
                  <c:v>1849.202</c:v>
                </c:pt>
                <c:pt idx="5">
                  <c:v>1849.202</c:v>
                </c:pt>
                <c:pt idx="6">
                  <c:v>1849.202</c:v>
                </c:pt>
                <c:pt idx="7">
                  <c:v>1849.202</c:v>
                </c:pt>
                <c:pt idx="8">
                  <c:v>2280.4699999999998</c:v>
                </c:pt>
                <c:pt idx="9">
                  <c:v>2497.9205000000002</c:v>
                </c:pt>
                <c:pt idx="10">
                  <c:v>2609.9277500000003</c:v>
                </c:pt>
                <c:pt idx="11">
                  <c:v>1636.2872499999999</c:v>
                </c:pt>
                <c:pt idx="12">
                  <c:v>1636.2872499999999</c:v>
                </c:pt>
                <c:pt idx="13">
                  <c:v>1636.2872499999999</c:v>
                </c:pt>
                <c:pt idx="14">
                  <c:v>1636.2872499999999</c:v>
                </c:pt>
                <c:pt idx="15">
                  <c:v>1451.4817499999999</c:v>
                </c:pt>
                <c:pt idx="16">
                  <c:v>1230.5139999999999</c:v>
                </c:pt>
                <c:pt idx="17">
                  <c:v>1379.2787499999999</c:v>
                </c:pt>
                <c:pt idx="18">
                  <c:v>1418.0415</c:v>
                </c:pt>
                <c:pt idx="19">
                  <c:v>1418.0415</c:v>
                </c:pt>
                <c:pt idx="20">
                  <c:v>1418.0415</c:v>
                </c:pt>
                <c:pt idx="21">
                  <c:v>1418.0415</c:v>
                </c:pt>
                <c:pt idx="22">
                  <c:v>1224.0382499999998</c:v>
                </c:pt>
                <c:pt idx="23">
                  <c:v>1455.3737499999997</c:v>
                </c:pt>
                <c:pt idx="24">
                  <c:v>1138.1524999999999</c:v>
                </c:pt>
                <c:pt idx="25">
                  <c:v>999.45425</c:v>
                </c:pt>
                <c:pt idx="26">
                  <c:v>999.45425</c:v>
                </c:pt>
                <c:pt idx="27">
                  <c:v>999.45425</c:v>
                </c:pt>
                <c:pt idx="28">
                  <c:v>999.45425</c:v>
                </c:pt>
                <c:pt idx="29">
                  <c:v>1055.3606666666667</c:v>
                </c:pt>
                <c:pt idx="30">
                  <c:v>895.86</c:v>
                </c:pt>
                <c:pt idx="31">
                  <c:v>1660.5793333333334</c:v>
                </c:pt>
                <c:pt idx="32">
                  <c:v>1705.2070000000001</c:v>
                </c:pt>
                <c:pt idx="33">
                  <c:v>1705.2070000000001</c:v>
                </c:pt>
                <c:pt idx="34">
                  <c:v>1705.2070000000001</c:v>
                </c:pt>
                <c:pt idx="35">
                  <c:v>1705.2070000000001</c:v>
                </c:pt>
                <c:pt idx="36">
                  <c:v>1459.9612500000001</c:v>
                </c:pt>
                <c:pt idx="37">
                  <c:v>1427.7474999999999</c:v>
                </c:pt>
                <c:pt idx="38">
                  <c:v>886.49200000000008</c:v>
                </c:pt>
                <c:pt idx="39">
                  <c:v>748.21525000000008</c:v>
                </c:pt>
                <c:pt idx="40">
                  <c:v>748.21525000000008</c:v>
                </c:pt>
                <c:pt idx="41">
                  <c:v>748.21525000000008</c:v>
                </c:pt>
                <c:pt idx="42">
                  <c:v>748.21525000000008</c:v>
                </c:pt>
                <c:pt idx="43">
                  <c:v>678.90025000000003</c:v>
                </c:pt>
                <c:pt idx="44">
                  <c:v>606.04425000000003</c:v>
                </c:pt>
                <c:pt idx="45">
                  <c:v>569.14175</c:v>
                </c:pt>
                <c:pt idx="46">
                  <c:v>519.29650000000004</c:v>
                </c:pt>
                <c:pt idx="47">
                  <c:v>519.29650000000004</c:v>
                </c:pt>
                <c:pt idx="48">
                  <c:v>519.29650000000004</c:v>
                </c:pt>
                <c:pt idx="49">
                  <c:v>519.29650000000004</c:v>
                </c:pt>
                <c:pt idx="50">
                  <c:v>543.40733333333333</c:v>
                </c:pt>
                <c:pt idx="51">
                  <c:v>522.46249999999998</c:v>
                </c:pt>
                <c:pt idx="52">
                  <c:v>254.56100000000001</c:v>
                </c:pt>
                <c:pt idx="57">
                  <c:v>472.61799999999999</c:v>
                </c:pt>
                <c:pt idx="58">
                  <c:v>530.67549999999994</c:v>
                </c:pt>
                <c:pt idx="59">
                  <c:v>530.67549999999994</c:v>
                </c:pt>
                <c:pt idx="60">
                  <c:v>597.85033333333331</c:v>
                </c:pt>
                <c:pt idx="61">
                  <c:v>597.85033333333331</c:v>
                </c:pt>
                <c:pt idx="62">
                  <c:v>597.85033333333331</c:v>
                </c:pt>
                <c:pt idx="63">
                  <c:v>597.85033333333331</c:v>
                </c:pt>
                <c:pt idx="64">
                  <c:v>660.4665</c:v>
                </c:pt>
                <c:pt idx="65">
                  <c:v>2739.3869999999997</c:v>
                </c:pt>
                <c:pt idx="66">
                  <c:v>2212.8039999999996</c:v>
                </c:pt>
                <c:pt idx="67">
                  <c:v>2129.6129999999998</c:v>
                </c:pt>
                <c:pt idx="68">
                  <c:v>2129.6129999999998</c:v>
                </c:pt>
                <c:pt idx="69">
                  <c:v>2129.6129999999998</c:v>
                </c:pt>
                <c:pt idx="70">
                  <c:v>2129.6129999999998</c:v>
                </c:pt>
                <c:pt idx="71">
                  <c:v>854.12299999999993</c:v>
                </c:pt>
                <c:pt idx="72">
                  <c:v>1339.6116666666667</c:v>
                </c:pt>
                <c:pt idx="73">
                  <c:v>2035.6763333333331</c:v>
                </c:pt>
                <c:pt idx="74">
                  <c:v>2035.6763333333331</c:v>
                </c:pt>
                <c:pt idx="75">
                  <c:v>2035.6763333333331</c:v>
                </c:pt>
                <c:pt idx="76">
                  <c:v>2036</c:v>
                </c:pt>
                <c:pt idx="77">
                  <c:v>2035.6763333333331</c:v>
                </c:pt>
                <c:pt idx="78">
                  <c:v>2035.6763333333331</c:v>
                </c:pt>
                <c:pt idx="79">
                  <c:v>2536.3249999999998</c:v>
                </c:pt>
                <c:pt idx="80">
                  <c:v>1727.1396666666667</c:v>
                </c:pt>
                <c:pt idx="81">
                  <c:v>1204.203</c:v>
                </c:pt>
                <c:pt idx="82">
                  <c:v>1204.203</c:v>
                </c:pt>
                <c:pt idx="83">
                  <c:v>1204.203</c:v>
                </c:pt>
                <c:pt idx="84">
                  <c:v>1204.203</c:v>
                </c:pt>
                <c:pt idx="85">
                  <c:v>1085.9022500000001</c:v>
                </c:pt>
                <c:pt idx="86">
                  <c:v>815.71199999999999</c:v>
                </c:pt>
                <c:pt idx="87">
                  <c:v>1243.1867500000001</c:v>
                </c:pt>
                <c:pt idx="88">
                  <c:v>1397.434</c:v>
                </c:pt>
                <c:pt idx="89">
                  <c:v>1397.434</c:v>
                </c:pt>
                <c:pt idx="90">
                  <c:v>1397.434</c:v>
                </c:pt>
                <c:pt idx="91">
                  <c:v>1397.434</c:v>
                </c:pt>
                <c:pt idx="92">
                  <c:v>1542.1977105000001</c:v>
                </c:pt>
                <c:pt idx="93">
                  <c:v>1662.9172047500001</c:v>
                </c:pt>
                <c:pt idx="94">
                  <c:v>1503.2089025</c:v>
                </c:pt>
                <c:pt idx="95">
                  <c:v>1708.3247514999998</c:v>
                </c:pt>
                <c:pt idx="96">
                  <c:v>1708.3247514999998</c:v>
                </c:pt>
                <c:pt idx="97">
                  <c:v>1708.3247514999998</c:v>
                </c:pt>
                <c:pt idx="98">
                  <c:v>1708.3247514999998</c:v>
                </c:pt>
                <c:pt idx="99">
                  <c:v>2285.4549132500001</c:v>
                </c:pt>
                <c:pt idx="100">
                  <c:v>2439.217596</c:v>
                </c:pt>
              </c:numCache>
            </c:numRef>
          </c:val>
          <c:smooth val="1"/>
          <c:extLst>
            <c:ext xmlns:c16="http://schemas.microsoft.com/office/drawing/2014/chart" uri="{C3380CC4-5D6E-409C-BE32-E72D297353CC}">
              <c16:uniqueId val="{00000001-1BA7-458C-8E02-95167C4D55E2}"/>
            </c:ext>
          </c:extLst>
        </c:ser>
        <c:ser>
          <c:idx val="3"/>
          <c:order val="3"/>
          <c:tx>
            <c:strRef>
              <c:f>Sheet1!$F$1</c:f>
              <c:strCache>
                <c:ptCount val="1"/>
                <c:pt idx="0">
                  <c:v>North Brookfield</c:v>
                </c:pt>
              </c:strCache>
            </c:strRef>
          </c:tx>
          <c:spPr>
            <a:ln w="19050" cap="rnd">
              <a:solidFill>
                <a:schemeClr val="accent5"/>
              </a:solidFill>
              <a:round/>
            </a:ln>
            <a:effectLst/>
          </c:spPr>
          <c:marker>
            <c:symbol val="none"/>
          </c:marker>
          <c:cat>
            <c:numRef>
              <c:f>Sheet1!$A$2:$A$10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F$2:$F$102</c:f>
              <c:numCache>
                <c:formatCode>0</c:formatCode>
                <c:ptCount val="101"/>
                <c:pt idx="44" formatCode="#,##0">
                  <c:v>1186.5</c:v>
                </c:pt>
                <c:pt idx="45" formatCode="#,##0">
                  <c:v>1186.5</c:v>
                </c:pt>
                <c:pt idx="46" formatCode="#,##0">
                  <c:v>579</c:v>
                </c:pt>
                <c:pt idx="47" formatCode="#,##0">
                  <c:v>579</c:v>
                </c:pt>
                <c:pt idx="48" formatCode="#,##0">
                  <c:v>579</c:v>
                </c:pt>
                <c:pt idx="49" formatCode="#,##0">
                  <c:v>579</c:v>
                </c:pt>
                <c:pt idx="50" formatCode="#,##0">
                  <c:v>579</c:v>
                </c:pt>
                <c:pt idx="51" formatCode="#,##0">
                  <c:v>365.5</c:v>
                </c:pt>
                <c:pt idx="52" formatCode="#,##0">
                  <c:v>365.5</c:v>
                </c:pt>
                <c:pt idx="53" formatCode="#,##0">
                  <c:v>334.5</c:v>
                </c:pt>
                <c:pt idx="54" formatCode="#,##0">
                  <c:v>334.5</c:v>
                </c:pt>
                <c:pt idx="55" formatCode="#,##0">
                  <c:v>334.5</c:v>
                </c:pt>
                <c:pt idx="56" formatCode="#,##0">
                  <c:v>334.5</c:v>
                </c:pt>
                <c:pt idx="57" formatCode="#,##0">
                  <c:v>334.5</c:v>
                </c:pt>
                <c:pt idx="58" formatCode="#,##0">
                  <c:v>491</c:v>
                </c:pt>
                <c:pt idx="59" formatCode="#,##0">
                  <c:v>491</c:v>
                </c:pt>
                <c:pt idx="60" formatCode="#,##0">
                  <c:v>485.5</c:v>
                </c:pt>
                <c:pt idx="61" formatCode="#,##0">
                  <c:v>485.5</c:v>
                </c:pt>
                <c:pt idx="62" formatCode="#,##0">
                  <c:v>485.5</c:v>
                </c:pt>
                <c:pt idx="63" formatCode="#,##0">
                  <c:v>485.5</c:v>
                </c:pt>
                <c:pt idx="64" formatCode="#,##0">
                  <c:v>485.5</c:v>
                </c:pt>
                <c:pt idx="65" formatCode="#,##0">
                  <c:v>224.5</c:v>
                </c:pt>
                <c:pt idx="66" formatCode="#,##0">
                  <c:v>224.5</c:v>
                </c:pt>
                <c:pt idx="67">
                  <c:v>185</c:v>
                </c:pt>
                <c:pt idx="68">
                  <c:v>185</c:v>
                </c:pt>
                <c:pt idx="69">
                  <c:v>185</c:v>
                </c:pt>
                <c:pt idx="70">
                  <c:v>185</c:v>
                </c:pt>
                <c:pt idx="71">
                  <c:v>185</c:v>
                </c:pt>
                <c:pt idx="72">
                  <c:v>515</c:v>
                </c:pt>
                <c:pt idx="73">
                  <c:v>515</c:v>
                </c:pt>
                <c:pt idx="74">
                  <c:v>678</c:v>
                </c:pt>
                <c:pt idx="75">
                  <c:v>678</c:v>
                </c:pt>
                <c:pt idx="76">
                  <c:v>678</c:v>
                </c:pt>
                <c:pt idx="77">
                  <c:v>678</c:v>
                </c:pt>
                <c:pt idx="78">
                  <c:v>678</c:v>
                </c:pt>
                <c:pt idx="79">
                  <c:v>500.5</c:v>
                </c:pt>
                <c:pt idx="80">
                  <c:v>500.5</c:v>
                </c:pt>
                <c:pt idx="81">
                  <c:v>362.5</c:v>
                </c:pt>
                <c:pt idx="82">
                  <c:v>362.5</c:v>
                </c:pt>
                <c:pt idx="83">
                  <c:v>362.5</c:v>
                </c:pt>
                <c:pt idx="84">
                  <c:v>362.5</c:v>
                </c:pt>
                <c:pt idx="85">
                  <c:v>362.5</c:v>
                </c:pt>
                <c:pt idx="86">
                  <c:v>409.5</c:v>
                </c:pt>
                <c:pt idx="87">
                  <c:v>409.5</c:v>
                </c:pt>
                <c:pt idx="88">
                  <c:v>768.5</c:v>
                </c:pt>
                <c:pt idx="89">
                  <c:v>768.5</c:v>
                </c:pt>
                <c:pt idx="90">
                  <c:v>768.5</c:v>
                </c:pt>
                <c:pt idx="91">
                  <c:v>768.5</c:v>
                </c:pt>
                <c:pt idx="92">
                  <c:v>768.5</c:v>
                </c:pt>
                <c:pt idx="93" formatCode="#,##0">
                  <c:v>906.5</c:v>
                </c:pt>
                <c:pt idx="94" formatCode="#,##0">
                  <c:v>906.5</c:v>
                </c:pt>
                <c:pt idx="95" formatCode="#,##0">
                  <c:v>401.5</c:v>
                </c:pt>
                <c:pt idx="96" formatCode="#,##0">
                  <c:v>401.5</c:v>
                </c:pt>
                <c:pt idx="97" formatCode="#,##0">
                  <c:v>401.5</c:v>
                </c:pt>
                <c:pt idx="98" formatCode="#,##0">
                  <c:v>401.5</c:v>
                </c:pt>
                <c:pt idx="99" formatCode="#,##0">
                  <c:v>401.5</c:v>
                </c:pt>
                <c:pt idx="100" formatCode="#,##0">
                  <c:v>442.5</c:v>
                </c:pt>
              </c:numCache>
            </c:numRef>
          </c:val>
          <c:smooth val="0"/>
          <c:extLst>
            <c:ext xmlns:c16="http://schemas.microsoft.com/office/drawing/2014/chart" uri="{C3380CC4-5D6E-409C-BE32-E72D297353CC}">
              <c16:uniqueId val="{00000002-1BA7-458C-8E02-95167C4D55E2}"/>
            </c:ext>
          </c:extLst>
        </c:ser>
        <c:ser>
          <c:idx val="4"/>
          <c:order val="4"/>
          <c:tx>
            <c:strRef>
              <c:f>Sheet1!$G$1</c:f>
              <c:strCache>
                <c:ptCount val="1"/>
                <c:pt idx="0">
                  <c:v>Upper Blackstone</c:v>
                </c:pt>
              </c:strCache>
            </c:strRef>
          </c:tx>
          <c:spPr>
            <a:ln w="19050" cap="rnd">
              <a:solidFill>
                <a:schemeClr val="accent6"/>
              </a:solidFill>
              <a:round/>
            </a:ln>
            <a:effectLst/>
          </c:spPr>
          <c:marker>
            <c:symbol val="none"/>
          </c:marker>
          <c:cat>
            <c:numRef>
              <c:f>Sheet1!$A$2:$A$10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G$2:$G$102</c:f>
              <c:numCache>
                <c:formatCode>0</c:formatCode>
                <c:ptCount val="101"/>
                <c:pt idx="0">
                  <c:v>592.28150000000005</c:v>
                </c:pt>
                <c:pt idx="1">
                  <c:v>632.25900000000001</c:v>
                </c:pt>
                <c:pt idx="2">
                  <c:v>739.27824999999996</c:v>
                </c:pt>
                <c:pt idx="3">
                  <c:v>861.34574999999995</c:v>
                </c:pt>
                <c:pt idx="4">
                  <c:v>861.34574999999995</c:v>
                </c:pt>
                <c:pt idx="5">
                  <c:v>861.34574999999995</c:v>
                </c:pt>
                <c:pt idx="6">
                  <c:v>861.34574999999995</c:v>
                </c:pt>
                <c:pt idx="7">
                  <c:v>1055.40975</c:v>
                </c:pt>
                <c:pt idx="8">
                  <c:v>1147.2582500000001</c:v>
                </c:pt>
                <c:pt idx="9">
                  <c:v>1285.3597500000001</c:v>
                </c:pt>
                <c:pt idx="10">
                  <c:v>1505.019</c:v>
                </c:pt>
                <c:pt idx="11">
                  <c:v>1505.019</c:v>
                </c:pt>
                <c:pt idx="12">
                  <c:v>1505.019</c:v>
                </c:pt>
                <c:pt idx="13">
                  <c:v>1505.019</c:v>
                </c:pt>
                <c:pt idx="14">
                  <c:v>1528.48875</c:v>
                </c:pt>
                <c:pt idx="15">
                  <c:v>1516.54925</c:v>
                </c:pt>
                <c:pt idx="16">
                  <c:v>1451.2247500000001</c:v>
                </c:pt>
                <c:pt idx="17">
                  <c:v>1322.9962499999999</c:v>
                </c:pt>
                <c:pt idx="18">
                  <c:v>1322.9962499999999</c:v>
                </c:pt>
                <c:pt idx="19">
                  <c:v>1322.9962499999999</c:v>
                </c:pt>
                <c:pt idx="20">
                  <c:v>1322.9962499999999</c:v>
                </c:pt>
                <c:pt idx="21">
                  <c:v>1271.10925</c:v>
                </c:pt>
                <c:pt idx="22">
                  <c:v>1152.0695000000001</c:v>
                </c:pt>
                <c:pt idx="23">
                  <c:v>1064.1637499999999</c:v>
                </c:pt>
                <c:pt idx="24">
                  <c:v>929.60750000000007</c:v>
                </c:pt>
                <c:pt idx="25">
                  <c:v>929.60750000000007</c:v>
                </c:pt>
                <c:pt idx="26">
                  <c:v>929.60750000000007</c:v>
                </c:pt>
                <c:pt idx="27">
                  <c:v>929.60750000000007</c:v>
                </c:pt>
                <c:pt idx="28">
                  <c:v>809.73233333333337</c:v>
                </c:pt>
                <c:pt idx="29">
                  <c:v>915.07566666666662</c:v>
                </c:pt>
                <c:pt idx="30">
                  <c:v>853.14</c:v>
                </c:pt>
                <c:pt idx="31">
                  <c:v>788.3653333333333</c:v>
                </c:pt>
                <c:pt idx="32">
                  <c:v>788.3653333333333</c:v>
                </c:pt>
                <c:pt idx="33">
                  <c:v>788.3653333333333</c:v>
                </c:pt>
                <c:pt idx="34">
                  <c:v>788.3653333333333</c:v>
                </c:pt>
                <c:pt idx="35">
                  <c:v>798.75974999999994</c:v>
                </c:pt>
                <c:pt idx="36">
                  <c:v>681.23675000000003</c:v>
                </c:pt>
                <c:pt idx="37">
                  <c:v>704.27175</c:v>
                </c:pt>
                <c:pt idx="38">
                  <c:v>691.62350000000004</c:v>
                </c:pt>
                <c:pt idx="39">
                  <c:v>691.62350000000004</c:v>
                </c:pt>
                <c:pt idx="40">
                  <c:v>691.62350000000004</c:v>
                </c:pt>
                <c:pt idx="41">
                  <c:v>691.62350000000004</c:v>
                </c:pt>
                <c:pt idx="42">
                  <c:v>638.52824999999996</c:v>
                </c:pt>
                <c:pt idx="43">
                  <c:v>994.27125000000001</c:v>
                </c:pt>
                <c:pt idx="44">
                  <c:v>983.95299999999997</c:v>
                </c:pt>
                <c:pt idx="45">
                  <c:v>967.44775000000004</c:v>
                </c:pt>
                <c:pt idx="46">
                  <c:v>967.44775000000004</c:v>
                </c:pt>
                <c:pt idx="47">
                  <c:v>967.44775000000004</c:v>
                </c:pt>
                <c:pt idx="48">
                  <c:v>967.44775000000004</c:v>
                </c:pt>
                <c:pt idx="49">
                  <c:v>1084.0763333333332</c:v>
                </c:pt>
                <c:pt idx="50">
                  <c:v>641.83400000000006</c:v>
                </c:pt>
                <c:pt idx="51">
                  <c:v>588.48500000000001</c:v>
                </c:pt>
                <c:pt idx="52">
                  <c:v>685.71600000000001</c:v>
                </c:pt>
                <c:pt idx="53">
                  <c:v>685.71600000000001</c:v>
                </c:pt>
                <c:pt idx="54">
                  <c:v>685.71600000000001</c:v>
                </c:pt>
                <c:pt idx="55">
                  <c:v>685.71600000000001</c:v>
                </c:pt>
                <c:pt idx="56">
                  <c:v>773.82349999999997</c:v>
                </c:pt>
                <c:pt idx="57">
                  <c:v>776.26066666666668</c:v>
                </c:pt>
                <c:pt idx="58">
                  <c:v>897.23325</c:v>
                </c:pt>
                <c:pt idx="59">
                  <c:v>875.05850000000009</c:v>
                </c:pt>
                <c:pt idx="60">
                  <c:v>875.05850000000009</c:v>
                </c:pt>
                <c:pt idx="61">
                  <c:v>875.05850000000009</c:v>
                </c:pt>
                <c:pt idx="62">
                  <c:v>875.05850000000009</c:v>
                </c:pt>
                <c:pt idx="63">
                  <c:v>879.43433333333326</c:v>
                </c:pt>
                <c:pt idx="64">
                  <c:v>998.99400000000003</c:v>
                </c:pt>
                <c:pt idx="65">
                  <c:v>951.67966666666678</c:v>
                </c:pt>
                <c:pt idx="66">
                  <c:v>1091.3083333333334</c:v>
                </c:pt>
                <c:pt idx="67">
                  <c:v>1091.3083333333334</c:v>
                </c:pt>
                <c:pt idx="68">
                  <c:v>1091.3083333333334</c:v>
                </c:pt>
                <c:pt idx="69">
                  <c:v>1091.3083333333334</c:v>
                </c:pt>
                <c:pt idx="70">
                  <c:v>1116.23125</c:v>
                </c:pt>
                <c:pt idx="71">
                  <c:v>1894.52775</c:v>
                </c:pt>
                <c:pt idx="72">
                  <c:v>1903.59275</c:v>
                </c:pt>
                <c:pt idx="73">
                  <c:v>1989.3207499999999</c:v>
                </c:pt>
                <c:pt idx="74">
                  <c:v>1989.3207499999999</c:v>
                </c:pt>
                <c:pt idx="75">
                  <c:v>1989.3207499999999</c:v>
                </c:pt>
                <c:pt idx="76">
                  <c:v>1989.3207499999999</c:v>
                </c:pt>
                <c:pt idx="77">
                  <c:v>2045.7240000000002</c:v>
                </c:pt>
                <c:pt idx="78">
                  <c:v>1193.0934999999999</c:v>
                </c:pt>
                <c:pt idx="79">
                  <c:v>1098.7735</c:v>
                </c:pt>
                <c:pt idx="80">
                  <c:v>1040.9657500000001</c:v>
                </c:pt>
                <c:pt idx="81">
                  <c:v>1040.9657500000001</c:v>
                </c:pt>
                <c:pt idx="82">
                  <c:v>1040.9657500000001</c:v>
                </c:pt>
                <c:pt idx="83">
                  <c:v>1040.9657500000001</c:v>
                </c:pt>
                <c:pt idx="84">
                  <c:v>1081.393</c:v>
                </c:pt>
                <c:pt idx="85">
                  <c:v>1120.6860000000001</c:v>
                </c:pt>
                <c:pt idx="86">
                  <c:v>1356.7484999999999</c:v>
                </c:pt>
                <c:pt idx="87">
                  <c:v>1336.1025</c:v>
                </c:pt>
                <c:pt idx="88">
                  <c:v>1336.1025</c:v>
                </c:pt>
                <c:pt idx="89">
                  <c:v>1336.1025</c:v>
                </c:pt>
                <c:pt idx="90">
                  <c:v>1336.1025</c:v>
                </c:pt>
                <c:pt idx="91">
                  <c:v>1213.8415200750001</c:v>
                </c:pt>
                <c:pt idx="92">
                  <c:v>1362.8566989999999</c:v>
                </c:pt>
                <c:pt idx="93">
                  <c:v>1144.4088831250001</c:v>
                </c:pt>
                <c:pt idx="94">
                  <c:v>1037.7202445</c:v>
                </c:pt>
                <c:pt idx="95">
                  <c:v>1037.7202445</c:v>
                </c:pt>
                <c:pt idx="96">
                  <c:v>1037.7202445</c:v>
                </c:pt>
                <c:pt idx="97">
                  <c:v>1037.7202445</c:v>
                </c:pt>
                <c:pt idx="98">
                  <c:v>1489.7237342499998</c:v>
                </c:pt>
                <c:pt idx="99">
                  <c:v>1454.4084946666665</c:v>
                </c:pt>
                <c:pt idx="100">
                  <c:v>1758.1078512499998</c:v>
                </c:pt>
              </c:numCache>
            </c:numRef>
          </c:val>
          <c:smooth val="0"/>
          <c:extLst>
            <c:ext xmlns:c16="http://schemas.microsoft.com/office/drawing/2014/chart" uri="{C3380CC4-5D6E-409C-BE32-E72D297353CC}">
              <c16:uniqueId val="{00000003-1BA7-458C-8E02-95167C4D55E2}"/>
            </c:ext>
          </c:extLst>
        </c:ser>
        <c:ser>
          <c:idx val="5"/>
          <c:order val="5"/>
          <c:tx>
            <c:strRef>
              <c:f>Sheet1!$H$1</c:f>
              <c:strCache>
                <c:ptCount val="1"/>
                <c:pt idx="0">
                  <c:v>Uxbridge</c:v>
                </c:pt>
              </c:strCache>
            </c:strRef>
          </c:tx>
          <c:spPr>
            <a:ln w="15875" cap="rnd">
              <a:solidFill>
                <a:srgbClr val="002060"/>
              </a:solidFill>
              <a:round/>
            </a:ln>
            <a:effectLst/>
          </c:spPr>
          <c:marker>
            <c:symbol val="none"/>
          </c:marker>
          <c:cat>
            <c:numRef>
              <c:f>Sheet1!$A$2:$A$102</c:f>
              <c:numCache>
                <c:formatCode>m/d/yyyy</c:formatCode>
                <c:ptCount val="101"/>
                <c:pt idx="0">
                  <c:v>44682</c:v>
                </c:pt>
                <c:pt idx="1">
                  <c:v>44683</c:v>
                </c:pt>
                <c:pt idx="2">
                  <c:v>44684</c:v>
                </c:pt>
                <c:pt idx="3">
                  <c:v>44685</c:v>
                </c:pt>
                <c:pt idx="4">
                  <c:v>44686</c:v>
                </c:pt>
                <c:pt idx="5">
                  <c:v>44687</c:v>
                </c:pt>
                <c:pt idx="6">
                  <c:v>44688</c:v>
                </c:pt>
                <c:pt idx="7">
                  <c:v>44689</c:v>
                </c:pt>
                <c:pt idx="8">
                  <c:v>44690</c:v>
                </c:pt>
                <c:pt idx="9">
                  <c:v>44691</c:v>
                </c:pt>
                <c:pt idx="10">
                  <c:v>44692</c:v>
                </c:pt>
                <c:pt idx="11">
                  <c:v>44693</c:v>
                </c:pt>
                <c:pt idx="12">
                  <c:v>44694</c:v>
                </c:pt>
                <c:pt idx="13">
                  <c:v>44695</c:v>
                </c:pt>
                <c:pt idx="14">
                  <c:v>44696</c:v>
                </c:pt>
                <c:pt idx="15">
                  <c:v>44697</c:v>
                </c:pt>
                <c:pt idx="16">
                  <c:v>44698</c:v>
                </c:pt>
                <c:pt idx="17">
                  <c:v>44699</c:v>
                </c:pt>
                <c:pt idx="18">
                  <c:v>44700</c:v>
                </c:pt>
                <c:pt idx="19">
                  <c:v>44701</c:v>
                </c:pt>
                <c:pt idx="20">
                  <c:v>44702</c:v>
                </c:pt>
                <c:pt idx="21">
                  <c:v>44703</c:v>
                </c:pt>
                <c:pt idx="22">
                  <c:v>44704</c:v>
                </c:pt>
                <c:pt idx="23">
                  <c:v>44705</c:v>
                </c:pt>
                <c:pt idx="24">
                  <c:v>44706</c:v>
                </c:pt>
                <c:pt idx="25">
                  <c:v>44707</c:v>
                </c:pt>
                <c:pt idx="26">
                  <c:v>44708</c:v>
                </c:pt>
                <c:pt idx="27">
                  <c:v>44709</c:v>
                </c:pt>
                <c:pt idx="28">
                  <c:v>44710</c:v>
                </c:pt>
                <c:pt idx="29">
                  <c:v>44711</c:v>
                </c:pt>
                <c:pt idx="30">
                  <c:v>44712</c:v>
                </c:pt>
                <c:pt idx="31">
                  <c:v>44713</c:v>
                </c:pt>
                <c:pt idx="32">
                  <c:v>44714</c:v>
                </c:pt>
                <c:pt idx="33">
                  <c:v>44715</c:v>
                </c:pt>
                <c:pt idx="34">
                  <c:v>44716</c:v>
                </c:pt>
                <c:pt idx="35">
                  <c:v>44717</c:v>
                </c:pt>
                <c:pt idx="36">
                  <c:v>44718</c:v>
                </c:pt>
                <c:pt idx="37">
                  <c:v>44719</c:v>
                </c:pt>
                <c:pt idx="38">
                  <c:v>44720</c:v>
                </c:pt>
                <c:pt idx="39">
                  <c:v>44721</c:v>
                </c:pt>
                <c:pt idx="40">
                  <c:v>44722</c:v>
                </c:pt>
                <c:pt idx="41">
                  <c:v>44723</c:v>
                </c:pt>
                <c:pt idx="42">
                  <c:v>44724</c:v>
                </c:pt>
                <c:pt idx="43">
                  <c:v>44725</c:v>
                </c:pt>
                <c:pt idx="44">
                  <c:v>44726</c:v>
                </c:pt>
                <c:pt idx="45">
                  <c:v>44727</c:v>
                </c:pt>
                <c:pt idx="46">
                  <c:v>44728</c:v>
                </c:pt>
                <c:pt idx="47">
                  <c:v>44729</c:v>
                </c:pt>
                <c:pt idx="48">
                  <c:v>44730</c:v>
                </c:pt>
                <c:pt idx="49">
                  <c:v>44731</c:v>
                </c:pt>
                <c:pt idx="50">
                  <c:v>44732</c:v>
                </c:pt>
                <c:pt idx="51">
                  <c:v>44733</c:v>
                </c:pt>
                <c:pt idx="52">
                  <c:v>44734</c:v>
                </c:pt>
                <c:pt idx="53">
                  <c:v>44735</c:v>
                </c:pt>
                <c:pt idx="54">
                  <c:v>44736</c:v>
                </c:pt>
                <c:pt idx="55">
                  <c:v>44737</c:v>
                </c:pt>
                <c:pt idx="56">
                  <c:v>44738</c:v>
                </c:pt>
                <c:pt idx="57">
                  <c:v>44739</c:v>
                </c:pt>
                <c:pt idx="58">
                  <c:v>44740</c:v>
                </c:pt>
                <c:pt idx="59">
                  <c:v>44741</c:v>
                </c:pt>
                <c:pt idx="60">
                  <c:v>44742</c:v>
                </c:pt>
                <c:pt idx="61">
                  <c:v>44743</c:v>
                </c:pt>
                <c:pt idx="62">
                  <c:v>44744</c:v>
                </c:pt>
                <c:pt idx="63">
                  <c:v>44745</c:v>
                </c:pt>
                <c:pt idx="64">
                  <c:v>44746</c:v>
                </c:pt>
                <c:pt idx="65">
                  <c:v>44747</c:v>
                </c:pt>
                <c:pt idx="66">
                  <c:v>44748</c:v>
                </c:pt>
                <c:pt idx="67">
                  <c:v>44749</c:v>
                </c:pt>
                <c:pt idx="68">
                  <c:v>44750</c:v>
                </c:pt>
                <c:pt idx="69">
                  <c:v>44751</c:v>
                </c:pt>
                <c:pt idx="70">
                  <c:v>44752</c:v>
                </c:pt>
                <c:pt idx="71">
                  <c:v>44753</c:v>
                </c:pt>
                <c:pt idx="72">
                  <c:v>44754</c:v>
                </c:pt>
                <c:pt idx="73">
                  <c:v>44755</c:v>
                </c:pt>
                <c:pt idx="74">
                  <c:v>44756</c:v>
                </c:pt>
                <c:pt idx="75">
                  <c:v>44757</c:v>
                </c:pt>
                <c:pt idx="76">
                  <c:v>44758</c:v>
                </c:pt>
                <c:pt idx="77">
                  <c:v>44759</c:v>
                </c:pt>
                <c:pt idx="78">
                  <c:v>44760</c:v>
                </c:pt>
                <c:pt idx="79">
                  <c:v>44761</c:v>
                </c:pt>
                <c:pt idx="80">
                  <c:v>44762</c:v>
                </c:pt>
                <c:pt idx="81">
                  <c:v>44763</c:v>
                </c:pt>
                <c:pt idx="82">
                  <c:v>44764</c:v>
                </c:pt>
                <c:pt idx="83">
                  <c:v>44765</c:v>
                </c:pt>
                <c:pt idx="84">
                  <c:v>44766</c:v>
                </c:pt>
                <c:pt idx="85">
                  <c:v>44767</c:v>
                </c:pt>
                <c:pt idx="86">
                  <c:v>44768</c:v>
                </c:pt>
                <c:pt idx="87">
                  <c:v>44769</c:v>
                </c:pt>
                <c:pt idx="88">
                  <c:v>44770</c:v>
                </c:pt>
                <c:pt idx="89">
                  <c:v>44771</c:v>
                </c:pt>
                <c:pt idx="90">
                  <c:v>44772</c:v>
                </c:pt>
                <c:pt idx="91">
                  <c:v>44773</c:v>
                </c:pt>
                <c:pt idx="92">
                  <c:v>44774</c:v>
                </c:pt>
                <c:pt idx="93">
                  <c:v>44775</c:v>
                </c:pt>
                <c:pt idx="94">
                  <c:v>44776</c:v>
                </c:pt>
                <c:pt idx="95">
                  <c:v>44777</c:v>
                </c:pt>
                <c:pt idx="96">
                  <c:v>44778</c:v>
                </c:pt>
                <c:pt idx="97">
                  <c:v>44779</c:v>
                </c:pt>
                <c:pt idx="98">
                  <c:v>44780</c:v>
                </c:pt>
                <c:pt idx="99">
                  <c:v>44781</c:v>
                </c:pt>
                <c:pt idx="100">
                  <c:v>44782</c:v>
                </c:pt>
              </c:numCache>
            </c:numRef>
          </c:cat>
          <c:val>
            <c:numRef>
              <c:f>Sheet1!$H$2:$H$102</c:f>
              <c:numCache>
                <c:formatCode>0</c:formatCode>
                <c:ptCount val="101"/>
                <c:pt idx="15" formatCode="#,##0">
                  <c:v>1252</c:v>
                </c:pt>
                <c:pt idx="16" formatCode="#,##0">
                  <c:v>1252</c:v>
                </c:pt>
                <c:pt idx="17" formatCode="#,##0">
                  <c:v>807.5</c:v>
                </c:pt>
                <c:pt idx="18" formatCode="#,##0">
                  <c:v>1212.6666666666667</c:v>
                </c:pt>
                <c:pt idx="19" formatCode="#,##0">
                  <c:v>1212.6666666666667</c:v>
                </c:pt>
                <c:pt idx="20" formatCode="#,##0">
                  <c:v>1212.6666666666667</c:v>
                </c:pt>
                <c:pt idx="21" formatCode="#,##0">
                  <c:v>1212.6666666666667</c:v>
                </c:pt>
                <c:pt idx="22" formatCode="#,##0">
                  <c:v>1775.3333333333333</c:v>
                </c:pt>
                <c:pt idx="23" formatCode="#,##0">
                  <c:v>1775.3333333333333</c:v>
                </c:pt>
                <c:pt idx="24" formatCode="#,##0">
                  <c:v>2137.6666666666665</c:v>
                </c:pt>
                <c:pt idx="25" formatCode="#,##0">
                  <c:v>1569.3333333333333</c:v>
                </c:pt>
                <c:pt idx="26" formatCode="#,##0">
                  <c:v>1569.3333333333333</c:v>
                </c:pt>
                <c:pt idx="27" formatCode="#,##0">
                  <c:v>1569.3333333333333</c:v>
                </c:pt>
                <c:pt idx="28" formatCode="#,##0">
                  <c:v>1569.3333333333333</c:v>
                </c:pt>
                <c:pt idx="29" formatCode="#,##0">
                  <c:v>884</c:v>
                </c:pt>
                <c:pt idx="30" formatCode="#,##0">
                  <c:v>1055.3333333333333</c:v>
                </c:pt>
                <c:pt idx="31" formatCode="#,##0">
                  <c:v>833.66666666666663</c:v>
                </c:pt>
                <c:pt idx="32" formatCode="#,##0">
                  <c:v>963</c:v>
                </c:pt>
                <c:pt idx="33" formatCode="#,##0">
                  <c:v>963</c:v>
                </c:pt>
                <c:pt idx="34" formatCode="#,##0">
                  <c:v>963</c:v>
                </c:pt>
                <c:pt idx="35" formatCode="#,##0">
                  <c:v>963</c:v>
                </c:pt>
                <c:pt idx="36" formatCode="#,##0">
                  <c:v>988.75</c:v>
                </c:pt>
                <c:pt idx="37" formatCode="#,##0">
                  <c:v>852.33333333333337</c:v>
                </c:pt>
                <c:pt idx="38" formatCode="#,##0">
                  <c:v>1440.6666666666667</c:v>
                </c:pt>
                <c:pt idx="39" formatCode="#,##0">
                  <c:v>1522.6666666666667</c:v>
                </c:pt>
                <c:pt idx="40" formatCode="#,##0">
                  <c:v>1522.6666666666667</c:v>
                </c:pt>
                <c:pt idx="41" formatCode="#,##0">
                  <c:v>1522.6666666666667</c:v>
                </c:pt>
                <c:pt idx="42" formatCode="#,##0">
                  <c:v>1522.6666666666667</c:v>
                </c:pt>
                <c:pt idx="43" formatCode="#,##0">
                  <c:v>1296.6666666666667</c:v>
                </c:pt>
                <c:pt idx="44" formatCode="#,##0">
                  <c:v>1296.6666666666667</c:v>
                </c:pt>
                <c:pt idx="45" formatCode="#,##0">
                  <c:v>670</c:v>
                </c:pt>
                <c:pt idx="46" formatCode="#,##0">
                  <c:v>388</c:v>
                </c:pt>
                <c:pt idx="47" formatCode="#,##0">
                  <c:v>970.5</c:v>
                </c:pt>
                <c:pt idx="48" formatCode="#,##0">
                  <c:v>970.5</c:v>
                </c:pt>
                <c:pt idx="49" formatCode="#,##0">
                  <c:v>970.5</c:v>
                </c:pt>
                <c:pt idx="50" formatCode="#,##0">
                  <c:v>1553</c:v>
                </c:pt>
                <c:pt idx="51" formatCode="#,##0">
                  <c:v>964.5</c:v>
                </c:pt>
                <c:pt idx="52" formatCode="#,##0">
                  <c:v>719.33333333333337</c:v>
                </c:pt>
                <c:pt idx="53" formatCode="#,##0">
                  <c:v>723</c:v>
                </c:pt>
                <c:pt idx="54" formatCode="#,##0">
                  <c:v>446.33333333333331</c:v>
                </c:pt>
                <c:pt idx="55" formatCode="#,##0">
                  <c:v>446.33333333333331</c:v>
                </c:pt>
                <c:pt idx="56" formatCode="#,##0">
                  <c:v>446.33333333333331</c:v>
                </c:pt>
                <c:pt idx="57" formatCode="#,##0">
                  <c:v>664.5</c:v>
                </c:pt>
                <c:pt idx="58" formatCode="#,##0">
                  <c:v>760.66666666666663</c:v>
                </c:pt>
                <c:pt idx="59" formatCode="#,##0">
                  <c:v>794.33333333333337</c:v>
                </c:pt>
                <c:pt idx="60" formatCode="#,##0">
                  <c:v>824.5</c:v>
                </c:pt>
                <c:pt idx="61" formatCode="#,##0">
                  <c:v>824.5</c:v>
                </c:pt>
                <c:pt idx="62" formatCode="#,##0">
                  <c:v>824.5</c:v>
                </c:pt>
                <c:pt idx="63" formatCode="#,##0">
                  <c:v>824.5</c:v>
                </c:pt>
                <c:pt idx="64" formatCode="#,##0">
                  <c:v>330</c:v>
                </c:pt>
                <c:pt idx="65" formatCode="#,##0">
                  <c:v>379</c:v>
                </c:pt>
                <c:pt idx="66" formatCode="#,##0">
                  <c:v>673</c:v>
                </c:pt>
                <c:pt idx="67" formatCode="General">
                  <c:v>630</c:v>
                </c:pt>
                <c:pt idx="68">
                  <c:v>629.95299999999997</c:v>
                </c:pt>
                <c:pt idx="69">
                  <c:v>629.95299999999997</c:v>
                </c:pt>
                <c:pt idx="70">
                  <c:v>629.95299999999997</c:v>
                </c:pt>
                <c:pt idx="71">
                  <c:v>646.21474999999998</c:v>
                </c:pt>
                <c:pt idx="72">
                  <c:v>718.91266666666661</c:v>
                </c:pt>
                <c:pt idx="73">
                  <c:v>1019.2756666666668</c:v>
                </c:pt>
                <c:pt idx="74">
                  <c:v>984.66666666666663</c:v>
                </c:pt>
                <c:pt idx="75">
                  <c:v>984.66666666666663</c:v>
                </c:pt>
                <c:pt idx="76">
                  <c:v>984.66666666666663</c:v>
                </c:pt>
                <c:pt idx="77">
                  <c:v>984.66666666666663</c:v>
                </c:pt>
                <c:pt idx="78">
                  <c:v>3440</c:v>
                </c:pt>
                <c:pt idx="79">
                  <c:v>3440.6756666666665</c:v>
                </c:pt>
                <c:pt idx="80">
                  <c:v>3634.548666666667</c:v>
                </c:pt>
                <c:pt idx="81">
                  <c:v>3916.972666666667</c:v>
                </c:pt>
                <c:pt idx="82">
                  <c:v>3916.972666666667</c:v>
                </c:pt>
                <c:pt idx="83">
                  <c:v>3916.972666666667</c:v>
                </c:pt>
                <c:pt idx="84">
                  <c:v>3916.972666666667</c:v>
                </c:pt>
                <c:pt idx="85">
                  <c:v>1452.4223333333332</c:v>
                </c:pt>
                <c:pt idx="86" formatCode="General">
                  <c:v>1452.4223333333332</c:v>
                </c:pt>
                <c:pt idx="87" formatCode="General">
                  <c:v>993.74533333333329</c:v>
                </c:pt>
                <c:pt idx="88" formatCode="General">
                  <c:v>774.80966666666666</c:v>
                </c:pt>
                <c:pt idx="89" formatCode="General">
                  <c:v>774.80966666666666</c:v>
                </c:pt>
                <c:pt idx="90" formatCode="General">
                  <c:v>774.80966666666666</c:v>
                </c:pt>
                <c:pt idx="91">
                  <c:v>774.45397963333323</c:v>
                </c:pt>
                <c:pt idx="92">
                  <c:v>850.49517759999992</c:v>
                </c:pt>
                <c:pt idx="93">
                  <c:v>850.49517759999992</c:v>
                </c:pt>
                <c:pt idx="94">
                  <c:v>639.1801802</c:v>
                </c:pt>
                <c:pt idx="95">
                  <c:v>703.45186560000002</c:v>
                </c:pt>
                <c:pt idx="96">
                  <c:v>703.45186560000002</c:v>
                </c:pt>
                <c:pt idx="97">
                  <c:v>703.45186560000002</c:v>
                </c:pt>
                <c:pt idx="98">
                  <c:v>703.45186560000002</c:v>
                </c:pt>
                <c:pt idx="99">
                  <c:v>607.82219884999995</c:v>
                </c:pt>
                <c:pt idx="100">
                  <c:v>567.42921056666671</c:v>
                </c:pt>
              </c:numCache>
            </c:numRef>
          </c:val>
          <c:smooth val="0"/>
          <c:extLst>
            <c:ext xmlns:c16="http://schemas.microsoft.com/office/drawing/2014/chart" uri="{C3380CC4-5D6E-409C-BE32-E72D297353CC}">
              <c16:uniqueId val="{00000001-33E6-4DF0-BC5E-8E0F6A8AF768}"/>
            </c:ext>
          </c:extLst>
        </c:ser>
        <c:ser>
          <c:idx val="6"/>
          <c:order val="6"/>
          <c:tx>
            <c:strRef>
              <c:f>Sheet1!$E$1</c:f>
              <c:strCache>
                <c:ptCount val="1"/>
                <c:pt idx="0">
                  <c:v>Grafton</c:v>
                </c:pt>
              </c:strCache>
            </c:strRef>
          </c:tx>
          <c:spPr>
            <a:ln w="15875" cap="rnd">
              <a:solidFill>
                <a:srgbClr val="F339DD"/>
              </a:solidFill>
              <a:round/>
            </a:ln>
            <a:effectLst/>
          </c:spPr>
          <c:marker>
            <c:symbol val="none"/>
          </c:marker>
          <c:val>
            <c:numRef>
              <c:f>Sheet1!$E$2:$E$102</c:f>
              <c:numCache>
                <c:formatCode>0</c:formatCode>
                <c:ptCount val="101"/>
                <c:pt idx="43">
                  <c:v>947</c:v>
                </c:pt>
                <c:pt idx="44">
                  <c:v>947</c:v>
                </c:pt>
                <c:pt idx="45">
                  <c:v>799</c:v>
                </c:pt>
                <c:pt idx="46">
                  <c:v>799</c:v>
                </c:pt>
                <c:pt idx="47">
                  <c:v>799</c:v>
                </c:pt>
                <c:pt idx="48">
                  <c:v>799</c:v>
                </c:pt>
                <c:pt idx="49">
                  <c:v>799</c:v>
                </c:pt>
                <c:pt idx="50">
                  <c:v>774</c:v>
                </c:pt>
                <c:pt idx="51">
                  <c:v>629</c:v>
                </c:pt>
                <c:pt idx="52">
                  <c:v>766</c:v>
                </c:pt>
                <c:pt idx="53">
                  <c:v>766</c:v>
                </c:pt>
                <c:pt idx="54">
                  <c:v>766</c:v>
                </c:pt>
                <c:pt idx="55">
                  <c:v>766</c:v>
                </c:pt>
                <c:pt idx="56">
                  <c:v>766</c:v>
                </c:pt>
                <c:pt idx="57">
                  <c:v>672</c:v>
                </c:pt>
                <c:pt idx="58">
                  <c:v>767</c:v>
                </c:pt>
                <c:pt idx="59">
                  <c:v>756</c:v>
                </c:pt>
                <c:pt idx="60">
                  <c:v>756</c:v>
                </c:pt>
                <c:pt idx="61">
                  <c:v>756</c:v>
                </c:pt>
                <c:pt idx="62">
                  <c:v>756</c:v>
                </c:pt>
                <c:pt idx="63">
                  <c:v>756</c:v>
                </c:pt>
                <c:pt idx="64">
                  <c:v>1026</c:v>
                </c:pt>
                <c:pt idx="65">
                  <c:v>775</c:v>
                </c:pt>
                <c:pt idx="66">
                  <c:v>524</c:v>
                </c:pt>
                <c:pt idx="67">
                  <c:v>524</c:v>
                </c:pt>
                <c:pt idx="68">
                  <c:v>524</c:v>
                </c:pt>
                <c:pt idx="69">
                  <c:v>524</c:v>
                </c:pt>
                <c:pt idx="70">
                  <c:v>524</c:v>
                </c:pt>
                <c:pt idx="71">
                  <c:v>982</c:v>
                </c:pt>
                <c:pt idx="72">
                  <c:v>1439</c:v>
                </c:pt>
                <c:pt idx="73">
                  <c:v>1439</c:v>
                </c:pt>
                <c:pt idx="74">
                  <c:v>879</c:v>
                </c:pt>
                <c:pt idx="75">
                  <c:v>879</c:v>
                </c:pt>
                <c:pt idx="76">
                  <c:v>879</c:v>
                </c:pt>
                <c:pt idx="77">
                  <c:v>879</c:v>
                </c:pt>
                <c:pt idx="78">
                  <c:v>2129</c:v>
                </c:pt>
                <c:pt idx="79">
                  <c:v>2129</c:v>
                </c:pt>
                <c:pt idx="80">
                  <c:v>1787</c:v>
                </c:pt>
                <c:pt idx="81">
                  <c:v>2521</c:v>
                </c:pt>
                <c:pt idx="82">
                  <c:v>2521</c:v>
                </c:pt>
                <c:pt idx="83">
                  <c:v>2521</c:v>
                </c:pt>
                <c:pt idx="84">
                  <c:v>2521</c:v>
                </c:pt>
                <c:pt idx="85">
                  <c:v>971</c:v>
                </c:pt>
                <c:pt idx="86">
                  <c:v>971</c:v>
                </c:pt>
                <c:pt idx="87">
                  <c:v>1188</c:v>
                </c:pt>
                <c:pt idx="88">
                  <c:v>1188</c:v>
                </c:pt>
                <c:pt idx="89">
                  <c:v>1188</c:v>
                </c:pt>
                <c:pt idx="90">
                  <c:v>1188</c:v>
                </c:pt>
                <c:pt idx="91">
                  <c:v>1188</c:v>
                </c:pt>
                <c:pt idx="92">
                  <c:v>1961</c:v>
                </c:pt>
                <c:pt idx="93">
                  <c:v>1961</c:v>
                </c:pt>
                <c:pt idx="94">
                  <c:v>1763.5</c:v>
                </c:pt>
                <c:pt idx="95">
                  <c:v>1763.5</c:v>
                </c:pt>
                <c:pt idx="96">
                  <c:v>1763.5</c:v>
                </c:pt>
                <c:pt idx="97">
                  <c:v>1763.5</c:v>
                </c:pt>
                <c:pt idx="98">
                  <c:v>1763.5</c:v>
                </c:pt>
                <c:pt idx="99">
                  <c:v>1264.5</c:v>
                </c:pt>
              </c:numCache>
            </c:numRef>
          </c:val>
          <c:smooth val="0"/>
          <c:extLst>
            <c:ext xmlns:c16="http://schemas.microsoft.com/office/drawing/2014/chart" uri="{C3380CC4-5D6E-409C-BE32-E72D297353CC}">
              <c16:uniqueId val="{00000001-4023-4F4C-B343-1A29B07EE574}"/>
            </c:ext>
          </c:extLst>
        </c:ser>
        <c:dLbls>
          <c:showLegendKey val="0"/>
          <c:showVal val="0"/>
          <c:showCatName val="0"/>
          <c:showSerName val="0"/>
          <c:showPercent val="0"/>
          <c:showBubbleSize val="0"/>
        </c:dLbls>
        <c:smooth val="0"/>
        <c:axId val="494445784"/>
        <c:axId val="494447424"/>
      </c:lineChart>
      <c:dateAx>
        <c:axId val="494445784"/>
        <c:scaling>
          <c:orientation val="minMax"/>
          <c:max val="44782"/>
          <c:min val="44726"/>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4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500"/>
        <c:minorUnit val="2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7544987546285"/>
          <c:y val="5.3722991306486702E-2"/>
          <c:w val="0.81931293288947693"/>
          <c:h val="0.86652220107470168"/>
        </c:manualLayout>
      </c:layout>
      <c:lineChart>
        <c:grouping val="standard"/>
        <c:varyColors val="0"/>
        <c:ser>
          <c:idx val="0"/>
          <c:order val="0"/>
          <c:tx>
            <c:strRef>
              <c:f>Sheet1!$B$1</c:f>
              <c:strCache>
                <c:ptCount val="1"/>
                <c:pt idx="0">
                  <c:v>Amherst</c:v>
                </c:pt>
              </c:strCache>
            </c:strRef>
          </c:tx>
          <c:spPr>
            <a:ln w="19050" cap="rnd">
              <a:solidFill>
                <a:schemeClr val="accent1"/>
              </a:solidFill>
              <a:round/>
            </a:ln>
            <a:effectLst/>
          </c:spPr>
          <c:marker>
            <c:symbol val="none"/>
          </c:marker>
          <c:cat>
            <c:numRef>
              <c:f>Sheet1!$A$2:$A$132</c:f>
              <c:numCache>
                <c:formatCode>m/d/yyyy</c:formatCode>
                <c:ptCount val="131"/>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numCache>
            </c:numRef>
          </c:cat>
          <c:val>
            <c:numRef>
              <c:f>Sheet1!$B$2:$B$132</c:f>
              <c:numCache>
                <c:formatCode>0</c:formatCode>
                <c:ptCount val="131"/>
                <c:pt idx="20">
                  <c:v>809.423</c:v>
                </c:pt>
                <c:pt idx="21">
                  <c:v>809.423</c:v>
                </c:pt>
                <c:pt idx="22">
                  <c:v>809.423</c:v>
                </c:pt>
                <c:pt idx="23">
                  <c:v>809.423</c:v>
                </c:pt>
                <c:pt idx="24">
                  <c:v>809.423</c:v>
                </c:pt>
                <c:pt idx="25">
                  <c:v>689.75549999999998</c:v>
                </c:pt>
                <c:pt idx="26">
                  <c:v>698.44066666666674</c:v>
                </c:pt>
                <c:pt idx="27">
                  <c:v>604.58533333333332</c:v>
                </c:pt>
                <c:pt idx="28">
                  <c:v>604.58533333333332</c:v>
                </c:pt>
                <c:pt idx="29">
                  <c:v>604.58533333333332</c:v>
                </c:pt>
                <c:pt idx="30">
                  <c:v>604.58533333333332</c:v>
                </c:pt>
                <c:pt idx="31">
                  <c:v>604.58533333333332</c:v>
                </c:pt>
                <c:pt idx="32">
                  <c:v>590.15533333333337</c:v>
                </c:pt>
                <c:pt idx="33">
                  <c:v>675.04966666666667</c:v>
                </c:pt>
                <c:pt idx="34">
                  <c:v>1214.152</c:v>
                </c:pt>
                <c:pt idx="35">
                  <c:v>1326.4770000000001</c:v>
                </c:pt>
                <c:pt idx="36">
                  <c:v>1326.4770000000001</c:v>
                </c:pt>
                <c:pt idx="37">
                  <c:v>1326.4770000000001</c:v>
                </c:pt>
                <c:pt idx="38">
                  <c:v>1326.4770000000001</c:v>
                </c:pt>
                <c:pt idx="39">
                  <c:v>1459.5325000000003</c:v>
                </c:pt>
                <c:pt idx="40">
                  <c:v>3655.7315000000003</c:v>
                </c:pt>
                <c:pt idx="41">
                  <c:v>3510.2392500000001</c:v>
                </c:pt>
                <c:pt idx="42">
                  <c:v>3363.4945000000002</c:v>
                </c:pt>
                <c:pt idx="43">
                  <c:v>3363.4945000000002</c:v>
                </c:pt>
                <c:pt idx="44">
                  <c:v>3363.4945000000002</c:v>
                </c:pt>
                <c:pt idx="45">
                  <c:v>3363.4945000000002</c:v>
                </c:pt>
                <c:pt idx="46">
                  <c:v>3331.9555</c:v>
                </c:pt>
                <c:pt idx="47">
                  <c:v>1080.2192499999999</c:v>
                </c:pt>
                <c:pt idx="48">
                  <c:v>941.36149999999998</c:v>
                </c:pt>
                <c:pt idx="49">
                  <c:v>1029.8005000000001</c:v>
                </c:pt>
                <c:pt idx="50">
                  <c:v>1029.8005000000001</c:v>
                </c:pt>
                <c:pt idx="51">
                  <c:v>1029.8005000000001</c:v>
                </c:pt>
                <c:pt idx="52">
                  <c:v>1029.8005000000001</c:v>
                </c:pt>
                <c:pt idx="53">
                  <c:v>993.29149999999993</c:v>
                </c:pt>
                <c:pt idx="54">
                  <c:v>1045.143</c:v>
                </c:pt>
                <c:pt idx="55">
                  <c:v>980.33699999999999</c:v>
                </c:pt>
                <c:pt idx="56">
                  <c:v>752.34124999999995</c:v>
                </c:pt>
                <c:pt idx="57">
                  <c:v>752.34124999999995</c:v>
                </c:pt>
                <c:pt idx="58">
                  <c:v>752.34124999999995</c:v>
                </c:pt>
                <c:pt idx="59">
                  <c:v>752.34124999999995</c:v>
                </c:pt>
                <c:pt idx="60">
                  <c:v>684.83724999999993</c:v>
                </c:pt>
                <c:pt idx="61">
                  <c:v>601.73</c:v>
                </c:pt>
                <c:pt idx="62">
                  <c:v>562.79950000000008</c:v>
                </c:pt>
                <c:pt idx="63">
                  <c:v>586.36374999999998</c:v>
                </c:pt>
                <c:pt idx="64">
                  <c:v>586.36374999999998</c:v>
                </c:pt>
                <c:pt idx="65">
                  <c:v>586.36374999999998</c:v>
                </c:pt>
                <c:pt idx="66">
                  <c:v>586.36374999999998</c:v>
                </c:pt>
                <c:pt idx="67">
                  <c:v>559.58749999999998</c:v>
                </c:pt>
                <c:pt idx="68">
                  <c:v>587.84024999999997</c:v>
                </c:pt>
                <c:pt idx="69">
                  <c:v>576.5915</c:v>
                </c:pt>
                <c:pt idx="70">
                  <c:v>535.40899999999999</c:v>
                </c:pt>
                <c:pt idx="71">
                  <c:v>535.40899999999999</c:v>
                </c:pt>
                <c:pt idx="72">
                  <c:v>535.40899999999999</c:v>
                </c:pt>
                <c:pt idx="73">
                  <c:v>535.40899999999999</c:v>
                </c:pt>
                <c:pt idx="74">
                  <c:v>545.76499999999999</c:v>
                </c:pt>
                <c:pt idx="75">
                  <c:v>511.904</c:v>
                </c:pt>
                <c:pt idx="76">
                  <c:v>524.48225000000002</c:v>
                </c:pt>
                <c:pt idx="77">
                  <c:v>613.84649999999999</c:v>
                </c:pt>
                <c:pt idx="78">
                  <c:v>613.84649999999999</c:v>
                </c:pt>
                <c:pt idx="79">
                  <c:v>613.84649999999999</c:v>
                </c:pt>
                <c:pt idx="80">
                  <c:v>613.84649999999999</c:v>
                </c:pt>
                <c:pt idx="81">
                  <c:v>668.08500000000004</c:v>
                </c:pt>
                <c:pt idx="82">
                  <c:v>701.68299999999999</c:v>
                </c:pt>
                <c:pt idx="83">
                  <c:v>805.23</c:v>
                </c:pt>
                <c:pt idx="84">
                  <c:v>594.99599999999998</c:v>
                </c:pt>
                <c:pt idx="85">
                  <c:v>594.99599999999998</c:v>
                </c:pt>
                <c:pt idx="86">
                  <c:v>594.99599999999998</c:v>
                </c:pt>
                <c:pt idx="87">
                  <c:v>594.99599999999998</c:v>
                </c:pt>
                <c:pt idx="88">
                  <c:v>382.56599999999997</c:v>
                </c:pt>
                <c:pt idx="89">
                  <c:v>360.09999999999997</c:v>
                </c:pt>
                <c:pt idx="90">
                  <c:v>442.49249999999995</c:v>
                </c:pt>
                <c:pt idx="91">
                  <c:v>380.49399999999997</c:v>
                </c:pt>
                <c:pt idx="92">
                  <c:v>380.49399999999997</c:v>
                </c:pt>
                <c:pt idx="93">
                  <c:v>380.49399999999997</c:v>
                </c:pt>
                <c:pt idx="94">
                  <c:v>380.49399999999997</c:v>
                </c:pt>
                <c:pt idx="95">
                  <c:v>473.12349999999998</c:v>
                </c:pt>
                <c:pt idx="96">
                  <c:v>521.51025000000004</c:v>
                </c:pt>
                <c:pt idx="97">
                  <c:v>530.18449999999996</c:v>
                </c:pt>
                <c:pt idx="98">
                  <c:v>591.24533333333329</c:v>
                </c:pt>
                <c:pt idx="99">
                  <c:v>591.24533333333329</c:v>
                </c:pt>
                <c:pt idx="100">
                  <c:v>584.42699999999991</c:v>
                </c:pt>
                <c:pt idx="101">
                  <c:v>584.42699999999991</c:v>
                </c:pt>
                <c:pt idx="102">
                  <c:v>649.80475000000001</c:v>
                </c:pt>
                <c:pt idx="103">
                  <c:v>709.673</c:v>
                </c:pt>
                <c:pt idx="104">
                  <c:v>715.03274999999996</c:v>
                </c:pt>
                <c:pt idx="105">
                  <c:v>714.78975000000003</c:v>
                </c:pt>
                <c:pt idx="106">
                  <c:v>714.75925000000007</c:v>
                </c:pt>
                <c:pt idx="107">
                  <c:v>714.75925000000007</c:v>
                </c:pt>
                <c:pt idx="108">
                  <c:v>714.75925000000007</c:v>
                </c:pt>
                <c:pt idx="109">
                  <c:v>560.03025000000002</c:v>
                </c:pt>
                <c:pt idx="110">
                  <c:v>510.22100000000006</c:v>
                </c:pt>
                <c:pt idx="111">
                  <c:v>535.03925000000004</c:v>
                </c:pt>
                <c:pt idx="112">
                  <c:v>634.56975</c:v>
                </c:pt>
                <c:pt idx="113">
                  <c:v>634.56975</c:v>
                </c:pt>
                <c:pt idx="114">
                  <c:v>634.56975</c:v>
                </c:pt>
                <c:pt idx="115">
                  <c:v>634.56975</c:v>
                </c:pt>
                <c:pt idx="116">
                  <c:v>829.24974999999995</c:v>
                </c:pt>
                <c:pt idx="117">
                  <c:v>1205.3615</c:v>
                </c:pt>
                <c:pt idx="118">
                  <c:v>1363.09175</c:v>
                </c:pt>
                <c:pt idx="119">
                  <c:v>1330.34175</c:v>
                </c:pt>
                <c:pt idx="120">
                  <c:v>1330.34175</c:v>
                </c:pt>
                <c:pt idx="121">
                  <c:v>1330.34175</c:v>
                </c:pt>
                <c:pt idx="122">
                  <c:v>1201.918090225</c:v>
                </c:pt>
                <c:pt idx="123">
                  <c:v>842.28987444999996</c:v>
                </c:pt>
                <c:pt idx="124">
                  <c:v>593.65431212499993</c:v>
                </c:pt>
                <c:pt idx="125">
                  <c:v>520.248864325</c:v>
                </c:pt>
                <c:pt idx="126">
                  <c:v>520.248864325</c:v>
                </c:pt>
                <c:pt idx="127">
                  <c:v>520.248864325</c:v>
                </c:pt>
                <c:pt idx="128">
                  <c:v>520.248864325</c:v>
                </c:pt>
                <c:pt idx="129">
                  <c:v>544.2586938666667</c:v>
                </c:pt>
              </c:numCache>
            </c:numRef>
          </c:val>
          <c:smooth val="1"/>
          <c:extLst>
            <c:ext xmlns:c16="http://schemas.microsoft.com/office/drawing/2014/chart" uri="{C3380CC4-5D6E-409C-BE32-E72D297353CC}">
              <c16:uniqueId val="{00000000-2521-4704-8001-83623E5F1097}"/>
            </c:ext>
          </c:extLst>
        </c:ser>
        <c:ser>
          <c:idx val="1"/>
          <c:order val="1"/>
          <c:tx>
            <c:strRef>
              <c:f>Sheet1!$C$1</c:f>
              <c:strCache>
                <c:ptCount val="1"/>
                <c:pt idx="0">
                  <c:v>Chicopee</c:v>
                </c:pt>
              </c:strCache>
            </c:strRef>
          </c:tx>
          <c:spPr>
            <a:ln w="19050" cap="rnd">
              <a:solidFill>
                <a:schemeClr val="accent2"/>
              </a:solidFill>
              <a:round/>
            </a:ln>
            <a:effectLst/>
          </c:spPr>
          <c:marker>
            <c:symbol val="none"/>
          </c:marker>
          <c:cat>
            <c:numRef>
              <c:f>Sheet1!$A$2:$A$132</c:f>
              <c:numCache>
                <c:formatCode>m/d/yyyy</c:formatCode>
                <c:ptCount val="131"/>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numCache>
            </c:numRef>
          </c:cat>
          <c:val>
            <c:numRef>
              <c:f>Sheet1!$C$2:$C$132</c:f>
              <c:numCache>
                <c:formatCode>0</c:formatCode>
                <c:ptCount val="131"/>
                <c:pt idx="73">
                  <c:v>615</c:v>
                </c:pt>
                <c:pt idx="74">
                  <c:v>615</c:v>
                </c:pt>
                <c:pt idx="75">
                  <c:v>592.5</c:v>
                </c:pt>
                <c:pt idx="76">
                  <c:v>592.5</c:v>
                </c:pt>
                <c:pt idx="77">
                  <c:v>592.5</c:v>
                </c:pt>
                <c:pt idx="78">
                  <c:v>592.5</c:v>
                </c:pt>
                <c:pt idx="79">
                  <c:v>592.5</c:v>
                </c:pt>
                <c:pt idx="80">
                  <c:v>484</c:v>
                </c:pt>
                <c:pt idx="81">
                  <c:v>556</c:v>
                </c:pt>
                <c:pt idx="82">
                  <c:v>535.5</c:v>
                </c:pt>
                <c:pt idx="83">
                  <c:v>535.5</c:v>
                </c:pt>
                <c:pt idx="84">
                  <c:v>535.5</c:v>
                </c:pt>
                <c:pt idx="85">
                  <c:v>535.5</c:v>
                </c:pt>
                <c:pt idx="86">
                  <c:v>535.5</c:v>
                </c:pt>
                <c:pt idx="87">
                  <c:v>928.33333333333337</c:v>
                </c:pt>
                <c:pt idx="88">
                  <c:v>1078.5</c:v>
                </c:pt>
                <c:pt idx="89">
                  <c:v>1049</c:v>
                </c:pt>
                <c:pt idx="90">
                  <c:v>1049</c:v>
                </c:pt>
                <c:pt idx="91">
                  <c:v>1049</c:v>
                </c:pt>
                <c:pt idx="92">
                  <c:v>1049</c:v>
                </c:pt>
                <c:pt idx="93">
                  <c:v>1049</c:v>
                </c:pt>
                <c:pt idx="94">
                  <c:v>384</c:v>
                </c:pt>
                <c:pt idx="95">
                  <c:v>648</c:v>
                </c:pt>
                <c:pt idx="96">
                  <c:v>791.5</c:v>
                </c:pt>
                <c:pt idx="97">
                  <c:v>791.5</c:v>
                </c:pt>
                <c:pt idx="98">
                  <c:v>791.5</c:v>
                </c:pt>
                <c:pt idx="99">
                  <c:v>791.5</c:v>
                </c:pt>
                <c:pt idx="100">
                  <c:v>791.5</c:v>
                </c:pt>
                <c:pt idx="101">
                  <c:v>720</c:v>
                </c:pt>
                <c:pt idx="102">
                  <c:v>624</c:v>
                </c:pt>
                <c:pt idx="103">
                  <c:v>882.5</c:v>
                </c:pt>
                <c:pt idx="104">
                  <c:v>882.5</c:v>
                </c:pt>
                <c:pt idx="105">
                  <c:v>882.5</c:v>
                </c:pt>
                <c:pt idx="106">
                  <c:v>882.5</c:v>
                </c:pt>
                <c:pt idx="107">
                  <c:v>882.5</c:v>
                </c:pt>
                <c:pt idx="108">
                  <c:v>1007.5</c:v>
                </c:pt>
                <c:pt idx="109" formatCode="General">
                  <c:v>1007.5</c:v>
                </c:pt>
                <c:pt idx="110" formatCode="General">
                  <c:v>990</c:v>
                </c:pt>
                <c:pt idx="111" formatCode="General">
                  <c:v>990</c:v>
                </c:pt>
                <c:pt idx="112" formatCode="General">
                  <c:v>990</c:v>
                </c:pt>
                <c:pt idx="113" formatCode="General">
                  <c:v>990</c:v>
                </c:pt>
                <c:pt idx="114" formatCode="General">
                  <c:v>990</c:v>
                </c:pt>
                <c:pt idx="115" formatCode="General">
                  <c:v>1432</c:v>
                </c:pt>
                <c:pt idx="116" formatCode="General">
                  <c:v>1432</c:v>
                </c:pt>
                <c:pt idx="117" formatCode="General">
                  <c:v>1072.5</c:v>
                </c:pt>
                <c:pt idx="118" formatCode="General">
                  <c:v>1072.5</c:v>
                </c:pt>
                <c:pt idx="119" formatCode="General">
                  <c:v>1072.5</c:v>
                </c:pt>
                <c:pt idx="120" formatCode="General">
                  <c:v>1072.5</c:v>
                </c:pt>
                <c:pt idx="121" formatCode="General">
                  <c:v>1072.5</c:v>
                </c:pt>
                <c:pt idx="122" formatCode="General">
                  <c:v>1499.5</c:v>
                </c:pt>
                <c:pt idx="123" formatCode="General">
                  <c:v>1500</c:v>
                </c:pt>
                <c:pt idx="124" formatCode="General">
                  <c:v>1551</c:v>
                </c:pt>
                <c:pt idx="125" formatCode="General">
                  <c:v>1551</c:v>
                </c:pt>
                <c:pt idx="126" formatCode="General">
                  <c:v>1551</c:v>
                </c:pt>
                <c:pt idx="127" formatCode="General">
                  <c:v>1551</c:v>
                </c:pt>
                <c:pt idx="128" formatCode="General">
                  <c:v>1551</c:v>
                </c:pt>
                <c:pt idx="129" formatCode="General">
                  <c:v>757</c:v>
                </c:pt>
              </c:numCache>
            </c:numRef>
          </c:val>
          <c:smooth val="1"/>
          <c:extLst>
            <c:ext xmlns:c16="http://schemas.microsoft.com/office/drawing/2014/chart" uri="{C3380CC4-5D6E-409C-BE32-E72D297353CC}">
              <c16:uniqueId val="{00000001-2521-4704-8001-83623E5F1097}"/>
            </c:ext>
          </c:extLst>
        </c:ser>
        <c:ser>
          <c:idx val="2"/>
          <c:order val="2"/>
          <c:tx>
            <c:strRef>
              <c:f>Sheet1!$D$1</c:f>
              <c:strCache>
                <c:ptCount val="1"/>
                <c:pt idx="0">
                  <c:v>Column1</c:v>
                </c:pt>
              </c:strCache>
            </c:strRef>
          </c:tx>
          <c:spPr>
            <a:ln w="19050" cap="rnd">
              <a:solidFill>
                <a:schemeClr val="accent3">
                  <a:lumMod val="50000"/>
                </a:schemeClr>
              </a:solidFill>
              <a:round/>
            </a:ln>
            <a:effectLst/>
          </c:spPr>
          <c:marker>
            <c:symbol val="none"/>
          </c:marker>
          <c:cat>
            <c:numRef>
              <c:f>Sheet1!$A$2:$A$132</c:f>
              <c:numCache>
                <c:formatCode>m/d/yyyy</c:formatCode>
                <c:ptCount val="131"/>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numCache>
            </c:numRef>
          </c:cat>
          <c:val>
            <c:numRef>
              <c:f>Sheet1!$D$2:$D$132</c:f>
              <c:numCache>
                <c:formatCode>0</c:formatCode>
                <c:ptCount val="131"/>
              </c:numCache>
            </c:numRef>
          </c:val>
          <c:smooth val="1"/>
          <c:extLst>
            <c:ext xmlns:c16="http://schemas.microsoft.com/office/drawing/2014/chart" uri="{C3380CC4-5D6E-409C-BE32-E72D297353CC}">
              <c16:uniqueId val="{00000002-2521-4704-8001-83623E5F1097}"/>
            </c:ext>
          </c:extLst>
        </c:ser>
        <c:ser>
          <c:idx val="3"/>
          <c:order val="3"/>
          <c:tx>
            <c:strRef>
              <c:f>Sheet1!$E$1</c:f>
              <c:strCache>
                <c:ptCount val="1"/>
                <c:pt idx="0">
                  <c:v>Greenfield</c:v>
                </c:pt>
              </c:strCache>
            </c:strRef>
          </c:tx>
          <c:spPr>
            <a:ln w="15875" cap="rnd">
              <a:solidFill>
                <a:schemeClr val="accent3">
                  <a:lumMod val="50000"/>
                </a:schemeClr>
              </a:solidFill>
              <a:round/>
            </a:ln>
            <a:effectLst/>
          </c:spPr>
          <c:marker>
            <c:symbol val="none"/>
          </c:marker>
          <c:cat>
            <c:numRef>
              <c:f>Sheet1!$A$2:$A$132</c:f>
              <c:numCache>
                <c:formatCode>m/d/yyyy</c:formatCode>
                <c:ptCount val="131"/>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numCache>
            </c:numRef>
          </c:cat>
          <c:val>
            <c:numRef>
              <c:f>Sheet1!$E$2:$E$132</c:f>
              <c:numCache>
                <c:formatCode>0</c:formatCode>
                <c:ptCount val="131"/>
                <c:pt idx="40" formatCode="#,##0">
                  <c:v>1828</c:v>
                </c:pt>
                <c:pt idx="41" formatCode="#,##0">
                  <c:v>1828</c:v>
                </c:pt>
                <c:pt idx="42" formatCode="#,##0">
                  <c:v>1828</c:v>
                </c:pt>
                <c:pt idx="43" formatCode="#,##0">
                  <c:v>1828</c:v>
                </c:pt>
                <c:pt idx="44" formatCode="#,##0">
                  <c:v>1828</c:v>
                </c:pt>
                <c:pt idx="45" formatCode="#,##0">
                  <c:v>1828</c:v>
                </c:pt>
                <c:pt idx="46" formatCode="#,##0">
                  <c:v>1828</c:v>
                </c:pt>
                <c:pt idx="47" formatCode="#,##0">
                  <c:v>706</c:v>
                </c:pt>
                <c:pt idx="48" formatCode="#,##0">
                  <c:v>706</c:v>
                </c:pt>
                <c:pt idx="49" formatCode="#,##0">
                  <c:v>706</c:v>
                </c:pt>
                <c:pt idx="50" formatCode="#,##0">
                  <c:v>706</c:v>
                </c:pt>
                <c:pt idx="51" formatCode="#,##0">
                  <c:v>706</c:v>
                </c:pt>
                <c:pt idx="52" formatCode="#,##0">
                  <c:v>706</c:v>
                </c:pt>
                <c:pt idx="53" formatCode="#,##0">
                  <c:v>706</c:v>
                </c:pt>
                <c:pt idx="54" formatCode="#,##0">
                  <c:v>1081</c:v>
                </c:pt>
                <c:pt idx="55" formatCode="#,##0">
                  <c:v>1081</c:v>
                </c:pt>
                <c:pt idx="56" formatCode="#,##0">
                  <c:v>1081</c:v>
                </c:pt>
                <c:pt idx="57" formatCode="#,##0">
                  <c:v>1081</c:v>
                </c:pt>
                <c:pt idx="58" formatCode="#,##0">
                  <c:v>1081</c:v>
                </c:pt>
                <c:pt idx="59" formatCode="#,##0">
                  <c:v>1081</c:v>
                </c:pt>
                <c:pt idx="60" formatCode="#,##0">
                  <c:v>1081</c:v>
                </c:pt>
                <c:pt idx="61" formatCode="#,##0">
                  <c:v>1479</c:v>
                </c:pt>
                <c:pt idx="62" formatCode="#,##0">
                  <c:v>1479</c:v>
                </c:pt>
                <c:pt idx="63" formatCode="#,##0">
                  <c:v>1479</c:v>
                </c:pt>
                <c:pt idx="64" formatCode="#,##0">
                  <c:v>1479</c:v>
                </c:pt>
                <c:pt idx="65" formatCode="#,##0">
                  <c:v>1479</c:v>
                </c:pt>
                <c:pt idx="66" formatCode="#,##0">
                  <c:v>1479</c:v>
                </c:pt>
                <c:pt idx="67" formatCode="#,##0">
                  <c:v>1479</c:v>
                </c:pt>
                <c:pt idx="68" formatCode="#,##0">
                  <c:v>988</c:v>
                </c:pt>
                <c:pt idx="69" formatCode="#,##0">
                  <c:v>988</c:v>
                </c:pt>
                <c:pt idx="70" formatCode="#,##0">
                  <c:v>988</c:v>
                </c:pt>
                <c:pt idx="71" formatCode="#,##0">
                  <c:v>988</c:v>
                </c:pt>
                <c:pt idx="72" formatCode="#,##0">
                  <c:v>988</c:v>
                </c:pt>
                <c:pt idx="73" formatCode="#,##0">
                  <c:v>988</c:v>
                </c:pt>
                <c:pt idx="74" formatCode="#,##0">
                  <c:v>988</c:v>
                </c:pt>
                <c:pt idx="82" formatCode="#,##0">
                  <c:v>623</c:v>
                </c:pt>
                <c:pt idx="83" formatCode="#,##0">
                  <c:v>623</c:v>
                </c:pt>
                <c:pt idx="84" formatCode="#,##0">
                  <c:v>623</c:v>
                </c:pt>
                <c:pt idx="85" formatCode="#,##0">
                  <c:v>623</c:v>
                </c:pt>
                <c:pt idx="86" formatCode="#,##0">
                  <c:v>623</c:v>
                </c:pt>
                <c:pt idx="87" formatCode="#,##0">
                  <c:v>623</c:v>
                </c:pt>
                <c:pt idx="88" formatCode="#,##0">
                  <c:v>623</c:v>
                </c:pt>
                <c:pt idx="89" formatCode="#,##0">
                  <c:v>580</c:v>
                </c:pt>
                <c:pt idx="90" formatCode="#,##0">
                  <c:v>580</c:v>
                </c:pt>
                <c:pt idx="91" formatCode="#,##0">
                  <c:v>658</c:v>
                </c:pt>
                <c:pt idx="92" formatCode="#,##0">
                  <c:v>658</c:v>
                </c:pt>
                <c:pt idx="93" formatCode="#,##0">
                  <c:v>658</c:v>
                </c:pt>
                <c:pt idx="94" formatCode="#,##0">
                  <c:v>658</c:v>
                </c:pt>
                <c:pt idx="95" formatCode="#,##0">
                  <c:v>658</c:v>
                </c:pt>
                <c:pt idx="96" formatCode="#,##0">
                  <c:v>942.5</c:v>
                </c:pt>
                <c:pt idx="97" formatCode="General">
                  <c:v>942.5</c:v>
                </c:pt>
                <c:pt idx="98" formatCode="General">
                  <c:v>1044</c:v>
                </c:pt>
                <c:pt idx="99">
                  <c:v>1044.1300000000001</c:v>
                </c:pt>
                <c:pt idx="100">
                  <c:v>1044.1300000000001</c:v>
                </c:pt>
                <c:pt idx="101">
                  <c:v>1044.1300000000001</c:v>
                </c:pt>
                <c:pt idx="102">
                  <c:v>1044.1300000000001</c:v>
                </c:pt>
                <c:pt idx="103">
                  <c:v>674.5</c:v>
                </c:pt>
                <c:pt idx="104">
                  <c:v>674.5</c:v>
                </c:pt>
                <c:pt idx="105">
                  <c:v>1132.5</c:v>
                </c:pt>
                <c:pt idx="106" formatCode="General">
                  <c:v>1132.7235000000001</c:v>
                </c:pt>
                <c:pt idx="107" formatCode="General">
                  <c:v>1132.7235000000001</c:v>
                </c:pt>
                <c:pt idx="108" formatCode="General">
                  <c:v>1132.7235000000001</c:v>
                </c:pt>
                <c:pt idx="109" formatCode="General">
                  <c:v>1132.7235000000001</c:v>
                </c:pt>
                <c:pt idx="110" formatCode="General">
                  <c:v>1430.9675</c:v>
                </c:pt>
                <c:pt idx="111" formatCode="General">
                  <c:v>1430.9675</c:v>
                </c:pt>
                <c:pt idx="112" formatCode="General">
                  <c:v>736.5</c:v>
                </c:pt>
                <c:pt idx="113" formatCode="General">
                  <c:v>736.5</c:v>
                </c:pt>
                <c:pt idx="114" formatCode="General">
                  <c:v>736.5</c:v>
                </c:pt>
                <c:pt idx="115" formatCode="General">
                  <c:v>736.5</c:v>
                </c:pt>
                <c:pt idx="116" formatCode="General">
                  <c:v>736.5</c:v>
                </c:pt>
                <c:pt idx="117" formatCode="General">
                  <c:v>469</c:v>
                </c:pt>
                <c:pt idx="118" formatCode="General">
                  <c:v>469</c:v>
                </c:pt>
                <c:pt idx="119" formatCode="General">
                  <c:v>431</c:v>
                </c:pt>
                <c:pt idx="120" formatCode="General">
                  <c:v>431</c:v>
                </c:pt>
                <c:pt idx="121" formatCode="General">
                  <c:v>431</c:v>
                </c:pt>
                <c:pt idx="122">
                  <c:v>431.18281094999998</c:v>
                </c:pt>
                <c:pt idx="123">
                  <c:v>472.68114455</c:v>
                </c:pt>
                <c:pt idx="124">
                  <c:v>472.68114455</c:v>
                </c:pt>
                <c:pt idx="125">
                  <c:v>639.59533284999998</c:v>
                </c:pt>
                <c:pt idx="126">
                  <c:v>639.59533284999998</c:v>
                </c:pt>
                <c:pt idx="127">
                  <c:v>639.59533284999998</c:v>
                </c:pt>
                <c:pt idx="128">
                  <c:v>639.59533284999998</c:v>
                </c:pt>
                <c:pt idx="129">
                  <c:v>639.59533284999998</c:v>
                </c:pt>
              </c:numCache>
            </c:numRef>
          </c:val>
          <c:smooth val="0"/>
          <c:extLst>
            <c:ext xmlns:c16="http://schemas.microsoft.com/office/drawing/2014/chart" uri="{C3380CC4-5D6E-409C-BE32-E72D297353CC}">
              <c16:uniqueId val="{00000003-2521-4704-8001-83623E5F1097}"/>
            </c:ext>
          </c:extLst>
        </c:ser>
        <c:ser>
          <c:idx val="4"/>
          <c:order val="4"/>
          <c:tx>
            <c:strRef>
              <c:f>Sheet1!$F$1</c:f>
              <c:strCache>
                <c:ptCount val="1"/>
                <c:pt idx="0">
                  <c:v>Pittsfield</c:v>
                </c:pt>
              </c:strCache>
            </c:strRef>
          </c:tx>
          <c:spPr>
            <a:ln w="19050" cap="rnd">
              <a:solidFill>
                <a:srgbClr val="F339DD"/>
              </a:solidFill>
              <a:round/>
            </a:ln>
            <a:effectLst/>
          </c:spPr>
          <c:marker>
            <c:symbol val="none"/>
          </c:marker>
          <c:cat>
            <c:numRef>
              <c:f>Sheet1!$A$2:$A$132</c:f>
              <c:numCache>
                <c:formatCode>m/d/yyyy</c:formatCode>
                <c:ptCount val="131"/>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numCache>
            </c:numRef>
          </c:cat>
          <c:val>
            <c:numRef>
              <c:f>Sheet1!$F$2:$F$132</c:f>
              <c:numCache>
                <c:formatCode>0</c:formatCode>
                <c:ptCount val="131"/>
                <c:pt idx="0">
                  <c:v>320.99025</c:v>
                </c:pt>
                <c:pt idx="1">
                  <c:v>320.99025</c:v>
                </c:pt>
                <c:pt idx="2">
                  <c:v>320.99025</c:v>
                </c:pt>
                <c:pt idx="3">
                  <c:v>316.97800000000001</c:v>
                </c:pt>
                <c:pt idx="4">
                  <c:v>342.60400000000004</c:v>
                </c:pt>
                <c:pt idx="5">
                  <c:v>342.60400000000004</c:v>
                </c:pt>
                <c:pt idx="6">
                  <c:v>336.34674999999999</c:v>
                </c:pt>
                <c:pt idx="7">
                  <c:v>349.14299999999997</c:v>
                </c:pt>
                <c:pt idx="8">
                  <c:v>349.14299999999997</c:v>
                </c:pt>
                <c:pt idx="9">
                  <c:v>349.14299999999997</c:v>
                </c:pt>
                <c:pt idx="10">
                  <c:v>441.50599999999997</c:v>
                </c:pt>
                <c:pt idx="11">
                  <c:v>526.40325000000007</c:v>
                </c:pt>
                <c:pt idx="12">
                  <c:v>526.40325000000007</c:v>
                </c:pt>
                <c:pt idx="13">
                  <c:v>648.12725</c:v>
                </c:pt>
                <c:pt idx="14">
                  <c:v>589.43375000000003</c:v>
                </c:pt>
                <c:pt idx="15">
                  <c:v>589.43375000000003</c:v>
                </c:pt>
                <c:pt idx="16">
                  <c:v>589.43375000000003</c:v>
                </c:pt>
                <c:pt idx="17">
                  <c:v>592.97166666666669</c:v>
                </c:pt>
                <c:pt idx="18">
                  <c:v>575.73400000000004</c:v>
                </c:pt>
                <c:pt idx="19">
                  <c:v>516.93174999999997</c:v>
                </c:pt>
                <c:pt idx="20">
                  <c:v>359.26950000000005</c:v>
                </c:pt>
                <c:pt idx="21">
                  <c:v>332.16049999999996</c:v>
                </c:pt>
                <c:pt idx="22">
                  <c:v>332.16049999999996</c:v>
                </c:pt>
                <c:pt idx="23">
                  <c:v>332.16049999999996</c:v>
                </c:pt>
                <c:pt idx="24">
                  <c:v>354.15939999999995</c:v>
                </c:pt>
                <c:pt idx="25">
                  <c:v>372.13580000000002</c:v>
                </c:pt>
                <c:pt idx="26">
                  <c:v>380.0385</c:v>
                </c:pt>
                <c:pt idx="27">
                  <c:v>436.21850000000001</c:v>
                </c:pt>
                <c:pt idx="28">
                  <c:v>609.01974999999993</c:v>
                </c:pt>
                <c:pt idx="29">
                  <c:v>609.01974999999993</c:v>
                </c:pt>
                <c:pt idx="30">
                  <c:v>609.01974999999993</c:v>
                </c:pt>
                <c:pt idx="31">
                  <c:v>819.33774999999991</c:v>
                </c:pt>
                <c:pt idx="32">
                  <c:v>848.68499999999995</c:v>
                </c:pt>
                <c:pt idx="33">
                  <c:v>848.68499999999995</c:v>
                </c:pt>
                <c:pt idx="34">
                  <c:v>938.73149999999987</c:v>
                </c:pt>
                <c:pt idx="35">
                  <c:v>860.39575000000002</c:v>
                </c:pt>
                <c:pt idx="36">
                  <c:v>860.39575000000002</c:v>
                </c:pt>
                <c:pt idx="37">
                  <c:v>860.39575000000002</c:v>
                </c:pt>
                <c:pt idx="38">
                  <c:v>904.66550000000007</c:v>
                </c:pt>
                <c:pt idx="39">
                  <c:v>901.66800000000001</c:v>
                </c:pt>
                <c:pt idx="40">
                  <c:v>901.66800000000001</c:v>
                </c:pt>
                <c:pt idx="41">
                  <c:v>902.67849999999999</c:v>
                </c:pt>
                <c:pt idx="42">
                  <c:v>1028.1077500000001</c:v>
                </c:pt>
                <c:pt idx="43">
                  <c:v>1028.1077500000001</c:v>
                </c:pt>
                <c:pt idx="44">
                  <c:v>1028.1077500000001</c:v>
                </c:pt>
                <c:pt idx="45">
                  <c:v>838.64825000000008</c:v>
                </c:pt>
                <c:pt idx="46">
                  <c:v>901.97424999999998</c:v>
                </c:pt>
                <c:pt idx="47">
                  <c:v>901.97424999999998</c:v>
                </c:pt>
                <c:pt idx="48">
                  <c:v>999.36824999999999</c:v>
                </c:pt>
                <c:pt idx="49">
                  <c:v>867.85124999999994</c:v>
                </c:pt>
                <c:pt idx="50">
                  <c:v>867.85124999999994</c:v>
                </c:pt>
                <c:pt idx="51">
                  <c:v>867.85124999999994</c:v>
                </c:pt>
                <c:pt idx="52">
                  <c:v>931.23950000000002</c:v>
                </c:pt>
                <c:pt idx="53">
                  <c:v>791.75725</c:v>
                </c:pt>
                <c:pt idx="54">
                  <c:v>791.75725</c:v>
                </c:pt>
                <c:pt idx="55">
                  <c:v>669.68325000000004</c:v>
                </c:pt>
                <c:pt idx="56">
                  <c:v>687.64924999999994</c:v>
                </c:pt>
                <c:pt idx="57">
                  <c:v>687.64924999999994</c:v>
                </c:pt>
                <c:pt idx="58">
                  <c:v>687.64924999999994</c:v>
                </c:pt>
                <c:pt idx="59">
                  <c:v>598.12533333333329</c:v>
                </c:pt>
                <c:pt idx="60">
                  <c:v>1034.54</c:v>
                </c:pt>
                <c:pt idx="61">
                  <c:v>1135.7384999999999</c:v>
                </c:pt>
                <c:pt idx="62">
                  <c:v>1083.61175</c:v>
                </c:pt>
                <c:pt idx="63">
                  <c:v>1189.6724999999999</c:v>
                </c:pt>
                <c:pt idx="64">
                  <c:v>1189.6724999999999</c:v>
                </c:pt>
                <c:pt idx="65">
                  <c:v>1189.6724999999999</c:v>
                </c:pt>
                <c:pt idx="66">
                  <c:v>1082.2199999999998</c:v>
                </c:pt>
                <c:pt idx="67">
                  <c:v>839.26160000000004</c:v>
                </c:pt>
                <c:pt idx="68">
                  <c:v>689.24350000000004</c:v>
                </c:pt>
                <c:pt idx="69">
                  <c:v>677.47550000000001</c:v>
                </c:pt>
                <c:pt idx="70">
                  <c:v>650.52224999999999</c:v>
                </c:pt>
                <c:pt idx="71">
                  <c:v>650.52224999999999</c:v>
                </c:pt>
                <c:pt idx="72">
                  <c:v>650.52224999999999</c:v>
                </c:pt>
                <c:pt idx="73">
                  <c:v>688.57024999999999</c:v>
                </c:pt>
                <c:pt idx="74">
                  <c:v>673.51974999999993</c:v>
                </c:pt>
                <c:pt idx="75">
                  <c:v>673.51974999999993</c:v>
                </c:pt>
                <c:pt idx="76">
                  <c:v>642.76800000000003</c:v>
                </c:pt>
                <c:pt idx="77">
                  <c:v>515.30049999999994</c:v>
                </c:pt>
                <c:pt idx="78">
                  <c:v>515.30049999999994</c:v>
                </c:pt>
                <c:pt idx="79">
                  <c:v>515.30049999999994</c:v>
                </c:pt>
                <c:pt idx="80">
                  <c:v>418.86666666666662</c:v>
                </c:pt>
                <c:pt idx="81">
                  <c:v>376.33349999999996</c:v>
                </c:pt>
                <c:pt idx="82">
                  <c:v>376.33349999999996</c:v>
                </c:pt>
                <c:pt idx="83">
                  <c:v>368.892</c:v>
                </c:pt>
                <c:pt idx="84">
                  <c:v>499.464</c:v>
                </c:pt>
                <c:pt idx="85">
                  <c:v>499.464</c:v>
                </c:pt>
                <c:pt idx="86">
                  <c:v>499.464</c:v>
                </c:pt>
                <c:pt idx="87">
                  <c:v>616.14700000000005</c:v>
                </c:pt>
                <c:pt idx="88">
                  <c:v>551.87600000000009</c:v>
                </c:pt>
                <c:pt idx="89">
                  <c:v>551.87600000000009</c:v>
                </c:pt>
                <c:pt idx="90">
                  <c:v>538.78674999999998</c:v>
                </c:pt>
                <c:pt idx="91">
                  <c:v>531.48374999999999</c:v>
                </c:pt>
                <c:pt idx="92">
                  <c:v>531.48374999999999</c:v>
                </c:pt>
                <c:pt idx="93">
                  <c:v>531.48374999999999</c:v>
                </c:pt>
                <c:pt idx="94">
                  <c:v>464.36833333333334</c:v>
                </c:pt>
                <c:pt idx="95">
                  <c:v>499.59</c:v>
                </c:pt>
                <c:pt idx="96">
                  <c:v>522.57425000000001</c:v>
                </c:pt>
                <c:pt idx="97">
                  <c:v>628.80150000000003</c:v>
                </c:pt>
                <c:pt idx="98">
                  <c:v>678.48850000000004</c:v>
                </c:pt>
                <c:pt idx="99">
                  <c:v>678.48850000000004</c:v>
                </c:pt>
                <c:pt idx="100">
                  <c:v>678.48850000000004</c:v>
                </c:pt>
                <c:pt idx="101">
                  <c:v>771</c:v>
                </c:pt>
                <c:pt idx="102">
                  <c:v>815.68624999999997</c:v>
                </c:pt>
                <c:pt idx="103">
                  <c:v>782.32925</c:v>
                </c:pt>
                <c:pt idx="104">
                  <c:v>779.92124999999999</c:v>
                </c:pt>
                <c:pt idx="105">
                  <c:v>779.92124999999999</c:v>
                </c:pt>
                <c:pt idx="106">
                  <c:v>779.92124999999999</c:v>
                </c:pt>
                <c:pt idx="107">
                  <c:v>776.18975</c:v>
                </c:pt>
                <c:pt idx="108">
                  <c:v>776.29775000000006</c:v>
                </c:pt>
                <c:pt idx="109">
                  <c:v>588.53575000000001</c:v>
                </c:pt>
                <c:pt idx="110">
                  <c:v>588.53575000000001</c:v>
                </c:pt>
                <c:pt idx="111">
                  <c:v>566.45950000000005</c:v>
                </c:pt>
                <c:pt idx="112">
                  <c:v>595.50350000000003</c:v>
                </c:pt>
                <c:pt idx="113">
                  <c:v>595.50350000000003</c:v>
                </c:pt>
                <c:pt idx="114">
                  <c:v>595.50350000000003</c:v>
                </c:pt>
                <c:pt idx="115">
                  <c:v>805.31975</c:v>
                </c:pt>
                <c:pt idx="116">
                  <c:v>818.45825000000002</c:v>
                </c:pt>
                <c:pt idx="117">
                  <c:v>818.45825000000002</c:v>
                </c:pt>
                <c:pt idx="118">
                  <c:v>828.68</c:v>
                </c:pt>
                <c:pt idx="119">
                  <c:v>804.72249999999997</c:v>
                </c:pt>
                <c:pt idx="120">
                  <c:v>804.72249999999997</c:v>
                </c:pt>
                <c:pt idx="121">
                  <c:v>804.72249999999997</c:v>
                </c:pt>
                <c:pt idx="122">
                  <c:v>646.50806782500001</c:v>
                </c:pt>
                <c:pt idx="123">
                  <c:v>876.08282877500005</c:v>
                </c:pt>
                <c:pt idx="124">
                  <c:v>876.08282877500005</c:v>
                </c:pt>
                <c:pt idx="125">
                  <c:v>862.22674477500004</c:v>
                </c:pt>
                <c:pt idx="126">
                  <c:v>851.65550977500004</c:v>
                </c:pt>
                <c:pt idx="127">
                  <c:v>851.65550977500004</c:v>
                </c:pt>
                <c:pt idx="128">
                  <c:v>851.65550977500004</c:v>
                </c:pt>
                <c:pt idx="129">
                  <c:v>977.49466927499998</c:v>
                </c:pt>
                <c:pt idx="130">
                  <c:v>842.47170103333337</c:v>
                </c:pt>
              </c:numCache>
            </c:numRef>
          </c:val>
          <c:smooth val="0"/>
          <c:extLst>
            <c:ext xmlns:c16="http://schemas.microsoft.com/office/drawing/2014/chart" uri="{C3380CC4-5D6E-409C-BE32-E72D297353CC}">
              <c16:uniqueId val="{00000004-2521-4704-8001-83623E5F1097}"/>
            </c:ext>
          </c:extLst>
        </c:ser>
        <c:ser>
          <c:idx val="5"/>
          <c:order val="5"/>
          <c:tx>
            <c:strRef>
              <c:f>Sheet1!$G$1</c:f>
              <c:strCache>
                <c:ptCount val="1"/>
                <c:pt idx="0">
                  <c:v>South Hadley</c:v>
                </c:pt>
              </c:strCache>
            </c:strRef>
          </c:tx>
          <c:spPr>
            <a:ln w="19050" cap="rnd">
              <a:solidFill>
                <a:schemeClr val="accent5"/>
              </a:solidFill>
              <a:round/>
            </a:ln>
            <a:effectLst/>
          </c:spPr>
          <c:marker>
            <c:symbol val="none"/>
          </c:marker>
          <c:cat>
            <c:numRef>
              <c:f>Sheet1!$A$2:$A$132</c:f>
              <c:numCache>
                <c:formatCode>m/d/yyyy</c:formatCode>
                <c:ptCount val="131"/>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pt idx="30">
                  <c:v>44682</c:v>
                </c:pt>
                <c:pt idx="31">
                  <c:v>44683</c:v>
                </c:pt>
                <c:pt idx="32">
                  <c:v>44684</c:v>
                </c:pt>
                <c:pt idx="33">
                  <c:v>44685</c:v>
                </c:pt>
                <c:pt idx="34">
                  <c:v>44686</c:v>
                </c:pt>
                <c:pt idx="35">
                  <c:v>44687</c:v>
                </c:pt>
                <c:pt idx="36">
                  <c:v>44688</c:v>
                </c:pt>
                <c:pt idx="37">
                  <c:v>44689</c:v>
                </c:pt>
                <c:pt idx="38">
                  <c:v>44690</c:v>
                </c:pt>
                <c:pt idx="39">
                  <c:v>44691</c:v>
                </c:pt>
                <c:pt idx="40">
                  <c:v>44692</c:v>
                </c:pt>
                <c:pt idx="41">
                  <c:v>44693</c:v>
                </c:pt>
                <c:pt idx="42">
                  <c:v>44694</c:v>
                </c:pt>
                <c:pt idx="43">
                  <c:v>44695</c:v>
                </c:pt>
                <c:pt idx="44">
                  <c:v>44696</c:v>
                </c:pt>
                <c:pt idx="45">
                  <c:v>44697</c:v>
                </c:pt>
                <c:pt idx="46">
                  <c:v>44698</c:v>
                </c:pt>
                <c:pt idx="47">
                  <c:v>44699</c:v>
                </c:pt>
                <c:pt idx="48">
                  <c:v>44700</c:v>
                </c:pt>
                <c:pt idx="49">
                  <c:v>44701</c:v>
                </c:pt>
                <c:pt idx="50">
                  <c:v>44702</c:v>
                </c:pt>
                <c:pt idx="51">
                  <c:v>44703</c:v>
                </c:pt>
                <c:pt idx="52">
                  <c:v>44704</c:v>
                </c:pt>
                <c:pt idx="53">
                  <c:v>44705</c:v>
                </c:pt>
                <c:pt idx="54">
                  <c:v>44706</c:v>
                </c:pt>
                <c:pt idx="55">
                  <c:v>44707</c:v>
                </c:pt>
                <c:pt idx="56">
                  <c:v>44708</c:v>
                </c:pt>
                <c:pt idx="57">
                  <c:v>44709</c:v>
                </c:pt>
                <c:pt idx="58">
                  <c:v>44710</c:v>
                </c:pt>
                <c:pt idx="59">
                  <c:v>44711</c:v>
                </c:pt>
                <c:pt idx="60">
                  <c:v>44712</c:v>
                </c:pt>
                <c:pt idx="61">
                  <c:v>44713</c:v>
                </c:pt>
                <c:pt idx="62">
                  <c:v>44714</c:v>
                </c:pt>
                <c:pt idx="63">
                  <c:v>44715</c:v>
                </c:pt>
                <c:pt idx="64">
                  <c:v>44716</c:v>
                </c:pt>
                <c:pt idx="65">
                  <c:v>44717</c:v>
                </c:pt>
                <c:pt idx="66">
                  <c:v>44718</c:v>
                </c:pt>
                <c:pt idx="67">
                  <c:v>44719</c:v>
                </c:pt>
                <c:pt idx="68">
                  <c:v>44720</c:v>
                </c:pt>
                <c:pt idx="69">
                  <c:v>44721</c:v>
                </c:pt>
                <c:pt idx="70">
                  <c:v>44722</c:v>
                </c:pt>
                <c:pt idx="71">
                  <c:v>44723</c:v>
                </c:pt>
                <c:pt idx="72">
                  <c:v>44724</c:v>
                </c:pt>
                <c:pt idx="73">
                  <c:v>44725</c:v>
                </c:pt>
                <c:pt idx="74">
                  <c:v>44726</c:v>
                </c:pt>
                <c:pt idx="75">
                  <c:v>44727</c:v>
                </c:pt>
                <c:pt idx="76">
                  <c:v>44728</c:v>
                </c:pt>
                <c:pt idx="77">
                  <c:v>44729</c:v>
                </c:pt>
                <c:pt idx="78">
                  <c:v>44730</c:v>
                </c:pt>
                <c:pt idx="79">
                  <c:v>44731</c:v>
                </c:pt>
                <c:pt idx="80">
                  <c:v>44732</c:v>
                </c:pt>
                <c:pt idx="81">
                  <c:v>44733</c:v>
                </c:pt>
                <c:pt idx="82">
                  <c:v>44734</c:v>
                </c:pt>
                <c:pt idx="83">
                  <c:v>44735</c:v>
                </c:pt>
                <c:pt idx="84">
                  <c:v>44736</c:v>
                </c:pt>
                <c:pt idx="85">
                  <c:v>44737</c:v>
                </c:pt>
                <c:pt idx="86">
                  <c:v>44738</c:v>
                </c:pt>
                <c:pt idx="87">
                  <c:v>44739</c:v>
                </c:pt>
                <c:pt idx="88">
                  <c:v>44740</c:v>
                </c:pt>
                <c:pt idx="89">
                  <c:v>44741</c:v>
                </c:pt>
                <c:pt idx="90">
                  <c:v>44742</c:v>
                </c:pt>
                <c:pt idx="91">
                  <c:v>44743</c:v>
                </c:pt>
                <c:pt idx="92">
                  <c:v>44744</c:v>
                </c:pt>
                <c:pt idx="93">
                  <c:v>44745</c:v>
                </c:pt>
                <c:pt idx="94">
                  <c:v>44746</c:v>
                </c:pt>
                <c:pt idx="95">
                  <c:v>44747</c:v>
                </c:pt>
                <c:pt idx="96">
                  <c:v>44748</c:v>
                </c:pt>
                <c:pt idx="97">
                  <c:v>44749</c:v>
                </c:pt>
                <c:pt idx="98">
                  <c:v>44750</c:v>
                </c:pt>
                <c:pt idx="99">
                  <c:v>44751</c:v>
                </c:pt>
                <c:pt idx="100">
                  <c:v>44752</c:v>
                </c:pt>
                <c:pt idx="101">
                  <c:v>44753</c:v>
                </c:pt>
                <c:pt idx="102">
                  <c:v>44754</c:v>
                </c:pt>
                <c:pt idx="103">
                  <c:v>44755</c:v>
                </c:pt>
                <c:pt idx="104">
                  <c:v>44756</c:v>
                </c:pt>
                <c:pt idx="105">
                  <c:v>44757</c:v>
                </c:pt>
                <c:pt idx="106">
                  <c:v>44758</c:v>
                </c:pt>
                <c:pt idx="107">
                  <c:v>44759</c:v>
                </c:pt>
                <c:pt idx="108">
                  <c:v>44760</c:v>
                </c:pt>
                <c:pt idx="109">
                  <c:v>44761</c:v>
                </c:pt>
                <c:pt idx="110">
                  <c:v>44762</c:v>
                </c:pt>
                <c:pt idx="111">
                  <c:v>44763</c:v>
                </c:pt>
                <c:pt idx="112">
                  <c:v>44764</c:v>
                </c:pt>
                <c:pt idx="113">
                  <c:v>44765</c:v>
                </c:pt>
                <c:pt idx="114">
                  <c:v>44766</c:v>
                </c:pt>
                <c:pt idx="115">
                  <c:v>44767</c:v>
                </c:pt>
                <c:pt idx="116">
                  <c:v>44768</c:v>
                </c:pt>
                <c:pt idx="117">
                  <c:v>44769</c:v>
                </c:pt>
                <c:pt idx="118">
                  <c:v>44770</c:v>
                </c:pt>
                <c:pt idx="119">
                  <c:v>44771</c:v>
                </c:pt>
                <c:pt idx="120">
                  <c:v>44772</c:v>
                </c:pt>
                <c:pt idx="121">
                  <c:v>44773</c:v>
                </c:pt>
                <c:pt idx="122">
                  <c:v>44774</c:v>
                </c:pt>
                <c:pt idx="123">
                  <c:v>44775</c:v>
                </c:pt>
                <c:pt idx="124">
                  <c:v>44776</c:v>
                </c:pt>
                <c:pt idx="125">
                  <c:v>44777</c:v>
                </c:pt>
                <c:pt idx="126">
                  <c:v>44778</c:v>
                </c:pt>
                <c:pt idx="127">
                  <c:v>44779</c:v>
                </c:pt>
                <c:pt idx="128">
                  <c:v>44780</c:v>
                </c:pt>
                <c:pt idx="129">
                  <c:v>44781</c:v>
                </c:pt>
                <c:pt idx="130">
                  <c:v>44782</c:v>
                </c:pt>
              </c:numCache>
            </c:numRef>
          </c:cat>
          <c:val>
            <c:numRef>
              <c:f>Sheet1!$G$2:$G$132</c:f>
              <c:numCache>
                <c:formatCode>0</c:formatCode>
                <c:ptCount val="131"/>
                <c:pt idx="0">
                  <c:v>358.90499999999997</c:v>
                </c:pt>
                <c:pt idx="1">
                  <c:v>470.26499999999999</c:v>
                </c:pt>
                <c:pt idx="2">
                  <c:v>470.26499999999999</c:v>
                </c:pt>
                <c:pt idx="3">
                  <c:v>490.55674999999997</c:v>
                </c:pt>
                <c:pt idx="4">
                  <c:v>490.55674999999997</c:v>
                </c:pt>
                <c:pt idx="5">
                  <c:v>564.68100000000004</c:v>
                </c:pt>
                <c:pt idx="6">
                  <c:v>564.68100000000004</c:v>
                </c:pt>
                <c:pt idx="7">
                  <c:v>602.53375000000005</c:v>
                </c:pt>
                <c:pt idx="8">
                  <c:v>526.87599999999998</c:v>
                </c:pt>
                <c:pt idx="9">
                  <c:v>526.87599999999998</c:v>
                </c:pt>
                <c:pt idx="10">
                  <c:v>534.274</c:v>
                </c:pt>
                <c:pt idx="11">
                  <c:v>534.274</c:v>
                </c:pt>
                <c:pt idx="12">
                  <c:v>506.94599999999997</c:v>
                </c:pt>
                <c:pt idx="13">
                  <c:v>506.94599999999997</c:v>
                </c:pt>
                <c:pt idx="14">
                  <c:v>530.14125000000001</c:v>
                </c:pt>
                <c:pt idx="15">
                  <c:v>539.94775000000004</c:v>
                </c:pt>
                <c:pt idx="16">
                  <c:v>539.94775000000004</c:v>
                </c:pt>
                <c:pt idx="17">
                  <c:v>554.93225000000007</c:v>
                </c:pt>
                <c:pt idx="18">
                  <c:v>554.93225000000007</c:v>
                </c:pt>
                <c:pt idx="19">
                  <c:v>587.06299999999999</c:v>
                </c:pt>
                <c:pt idx="20">
                  <c:v>587.06299999999999</c:v>
                </c:pt>
                <c:pt idx="21">
                  <c:v>551.57275000000004</c:v>
                </c:pt>
                <c:pt idx="22">
                  <c:v>598.09350000000006</c:v>
                </c:pt>
                <c:pt idx="23">
                  <c:v>598.09350000000006</c:v>
                </c:pt>
                <c:pt idx="24">
                  <c:v>603.19974999999999</c:v>
                </c:pt>
                <c:pt idx="25">
                  <c:v>603.19974999999999</c:v>
                </c:pt>
                <c:pt idx="26">
                  <c:v>577.99</c:v>
                </c:pt>
                <c:pt idx="27">
                  <c:v>577.99</c:v>
                </c:pt>
                <c:pt idx="28">
                  <c:v>649.48824999999999</c:v>
                </c:pt>
                <c:pt idx="29">
                  <c:v>668.06074999999998</c:v>
                </c:pt>
                <c:pt idx="30">
                  <c:v>668.06074999999998</c:v>
                </c:pt>
                <c:pt idx="31">
                  <c:v>713.22025000000008</c:v>
                </c:pt>
                <c:pt idx="32">
                  <c:v>713.22025000000008</c:v>
                </c:pt>
                <c:pt idx="33">
                  <c:v>949.62374999999997</c:v>
                </c:pt>
                <c:pt idx="34">
                  <c:v>949.62374999999997</c:v>
                </c:pt>
                <c:pt idx="35">
                  <c:v>1063.6042499999999</c:v>
                </c:pt>
                <c:pt idx="36">
                  <c:v>1035.97</c:v>
                </c:pt>
                <c:pt idx="37">
                  <c:v>1035.97</c:v>
                </c:pt>
                <c:pt idx="38">
                  <c:v>1296.2104999999999</c:v>
                </c:pt>
                <c:pt idx="39">
                  <c:v>1296.2104999999999</c:v>
                </c:pt>
                <c:pt idx="40">
                  <c:v>1358.2070000000001</c:v>
                </c:pt>
                <c:pt idx="41">
                  <c:v>1358.2070000000001</c:v>
                </c:pt>
                <c:pt idx="42">
                  <c:v>1358.03025</c:v>
                </c:pt>
                <c:pt idx="43">
                  <c:v>1465.7487500000002</c:v>
                </c:pt>
                <c:pt idx="44">
                  <c:v>1465.7487500000002</c:v>
                </c:pt>
                <c:pt idx="45">
                  <c:v>1096.8645000000001</c:v>
                </c:pt>
                <c:pt idx="46">
                  <c:v>1096.8645000000001</c:v>
                </c:pt>
                <c:pt idx="47">
                  <c:v>923.64775000000009</c:v>
                </c:pt>
                <c:pt idx="48">
                  <c:v>923.64775000000009</c:v>
                </c:pt>
                <c:pt idx="49">
                  <c:v>820.82349999999997</c:v>
                </c:pt>
                <c:pt idx="50">
                  <c:v>747.75825000000009</c:v>
                </c:pt>
                <c:pt idx="51">
                  <c:v>747.75825000000009</c:v>
                </c:pt>
                <c:pt idx="52">
                  <c:v>864.66949999999997</c:v>
                </c:pt>
                <c:pt idx="53">
                  <c:v>864.66949999999997</c:v>
                </c:pt>
                <c:pt idx="54">
                  <c:v>861.03125</c:v>
                </c:pt>
                <c:pt idx="55">
                  <c:v>861.03125</c:v>
                </c:pt>
                <c:pt idx="56">
                  <c:v>791.51174999999989</c:v>
                </c:pt>
                <c:pt idx="57">
                  <c:v>730.60874999999999</c:v>
                </c:pt>
                <c:pt idx="58">
                  <c:v>730.60874999999999</c:v>
                </c:pt>
                <c:pt idx="59">
                  <c:v>642.90125</c:v>
                </c:pt>
                <c:pt idx="60">
                  <c:v>642.90125</c:v>
                </c:pt>
                <c:pt idx="61">
                  <c:v>551.59249999999997</c:v>
                </c:pt>
                <c:pt idx="62">
                  <c:v>551.59249999999997</c:v>
                </c:pt>
                <c:pt idx="63">
                  <c:v>557.66274999999996</c:v>
                </c:pt>
                <c:pt idx="64">
                  <c:v>584.57024999999999</c:v>
                </c:pt>
                <c:pt idx="65">
                  <c:v>584.57024999999999</c:v>
                </c:pt>
                <c:pt idx="66">
                  <c:v>679.98149999999998</c:v>
                </c:pt>
                <c:pt idx="67">
                  <c:v>679.98149999999998</c:v>
                </c:pt>
                <c:pt idx="68">
                  <c:v>662.09524999999996</c:v>
                </c:pt>
                <c:pt idx="69">
                  <c:v>662.09524999999996</c:v>
                </c:pt>
                <c:pt idx="70">
                  <c:v>561.93900000000008</c:v>
                </c:pt>
                <c:pt idx="71">
                  <c:v>445.90125</c:v>
                </c:pt>
                <c:pt idx="72">
                  <c:v>445.90125</c:v>
                </c:pt>
                <c:pt idx="73">
                  <c:v>379.45974999999999</c:v>
                </c:pt>
                <c:pt idx="74">
                  <c:v>379.45974999999999</c:v>
                </c:pt>
                <c:pt idx="75">
                  <c:v>489.47700000000003</c:v>
                </c:pt>
                <c:pt idx="76">
                  <c:v>489.47700000000003</c:v>
                </c:pt>
                <c:pt idx="77">
                  <c:v>507.62075000000004</c:v>
                </c:pt>
                <c:pt idx="78">
                  <c:v>548.92050000000006</c:v>
                </c:pt>
                <c:pt idx="79">
                  <c:v>548.92050000000006</c:v>
                </c:pt>
                <c:pt idx="80">
                  <c:v>559.75199999999995</c:v>
                </c:pt>
                <c:pt idx="81">
                  <c:v>559.75199999999995</c:v>
                </c:pt>
                <c:pt idx="82">
                  <c:v>328.29133333333328</c:v>
                </c:pt>
                <c:pt idx="83">
                  <c:v>328.29133333333328</c:v>
                </c:pt>
                <c:pt idx="84">
                  <c:v>367.98033333333336</c:v>
                </c:pt>
                <c:pt idx="85">
                  <c:v>342.50833333333338</c:v>
                </c:pt>
                <c:pt idx="86">
                  <c:v>342.50833333333338</c:v>
                </c:pt>
                <c:pt idx="87">
                  <c:v>348.81175000000002</c:v>
                </c:pt>
                <c:pt idx="88">
                  <c:v>348.81175000000002</c:v>
                </c:pt>
                <c:pt idx="89">
                  <c:v>461.98325</c:v>
                </c:pt>
                <c:pt idx="90">
                  <c:v>461.98325</c:v>
                </c:pt>
                <c:pt idx="91">
                  <c:v>515.35075000000006</c:v>
                </c:pt>
                <c:pt idx="92">
                  <c:v>672.20450000000005</c:v>
                </c:pt>
                <c:pt idx="93">
                  <c:v>672.20450000000005</c:v>
                </c:pt>
                <c:pt idx="94">
                  <c:v>773.69866666666667</c:v>
                </c:pt>
                <c:pt idx="95">
                  <c:v>773.69866666666667</c:v>
                </c:pt>
                <c:pt idx="96">
                  <c:v>805.66399999999999</c:v>
                </c:pt>
                <c:pt idx="97">
                  <c:v>806</c:v>
                </c:pt>
                <c:pt idx="98">
                  <c:v>766</c:v>
                </c:pt>
                <c:pt idx="99">
                  <c:v>631</c:v>
                </c:pt>
                <c:pt idx="100">
                  <c:v>630.49549999999999</c:v>
                </c:pt>
                <c:pt idx="101">
                  <c:v>687.76333333333332</c:v>
                </c:pt>
                <c:pt idx="102">
                  <c:v>687.76333333333332</c:v>
                </c:pt>
                <c:pt idx="103">
                  <c:v>870.83150000000001</c:v>
                </c:pt>
                <c:pt idx="104">
                  <c:v>870.83150000000001</c:v>
                </c:pt>
                <c:pt idx="105">
                  <c:v>965.36433333333332</c:v>
                </c:pt>
                <c:pt idx="106">
                  <c:v>769.81775000000005</c:v>
                </c:pt>
                <c:pt idx="107">
                  <c:v>769.81775000000005</c:v>
                </c:pt>
                <c:pt idx="108">
                  <c:v>702.35500000000002</c:v>
                </c:pt>
                <c:pt idx="109">
                  <c:v>702.35500000000002</c:v>
                </c:pt>
                <c:pt idx="110">
                  <c:v>703.80175000000008</c:v>
                </c:pt>
                <c:pt idx="111">
                  <c:v>703.80175000000008</c:v>
                </c:pt>
                <c:pt idx="112">
                  <c:v>837.36975000000007</c:v>
                </c:pt>
                <c:pt idx="113">
                  <c:v>984.31775000000005</c:v>
                </c:pt>
                <c:pt idx="114">
                  <c:v>984.31775000000005</c:v>
                </c:pt>
                <c:pt idx="115">
                  <c:v>1284.9557500000001</c:v>
                </c:pt>
                <c:pt idx="116">
                  <c:v>1284.9557500000001</c:v>
                </c:pt>
                <c:pt idx="117">
                  <c:v>1238</c:v>
                </c:pt>
                <c:pt idx="118">
                  <c:v>1238</c:v>
                </c:pt>
                <c:pt idx="119">
                  <c:v>1332.5</c:v>
                </c:pt>
                <c:pt idx="120">
                  <c:v>1735</c:v>
                </c:pt>
                <c:pt idx="121">
                  <c:v>1735</c:v>
                </c:pt>
                <c:pt idx="122">
                  <c:v>918.87964065000006</c:v>
                </c:pt>
                <c:pt idx="123">
                  <c:v>918.87964065000006</c:v>
                </c:pt>
                <c:pt idx="124">
                  <c:v>1325.18337365</c:v>
                </c:pt>
                <c:pt idx="125">
                  <c:v>1325.18337365</c:v>
                </c:pt>
                <c:pt idx="126">
                  <c:v>1316.9627083</c:v>
                </c:pt>
                <c:pt idx="127">
                  <c:v>1316.9627083</c:v>
                </c:pt>
                <c:pt idx="128">
                  <c:v>1316.9627083</c:v>
                </c:pt>
                <c:pt idx="129">
                  <c:v>1316.9627083</c:v>
                </c:pt>
                <c:pt idx="130">
                  <c:v>1316.9627083</c:v>
                </c:pt>
              </c:numCache>
            </c:numRef>
          </c:val>
          <c:smooth val="0"/>
          <c:extLst>
            <c:ext xmlns:c16="http://schemas.microsoft.com/office/drawing/2014/chart" uri="{C3380CC4-5D6E-409C-BE32-E72D297353CC}">
              <c16:uniqueId val="{00000000-270B-4819-AAD5-1C4853704592}"/>
            </c:ext>
          </c:extLst>
        </c:ser>
        <c:dLbls>
          <c:showLegendKey val="0"/>
          <c:showVal val="0"/>
          <c:showCatName val="0"/>
          <c:showSerName val="0"/>
          <c:showPercent val="0"/>
          <c:showBubbleSize val="0"/>
        </c:dLbls>
        <c:smooth val="0"/>
        <c:axId val="494445784"/>
        <c:axId val="494447424"/>
      </c:lineChart>
      <c:dateAx>
        <c:axId val="494445784"/>
        <c:scaling>
          <c:orientation val="minMax"/>
          <c:min val="44726"/>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4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3074</cdr:x>
      <cdr:y>0.36615</cdr:y>
    </cdr:from>
    <cdr:to>
      <cdr:x>0.11065</cdr:x>
      <cdr:y>0.60629</cdr:y>
    </cdr:to>
    <cdr:sp macro="" textlink="">
      <cdr:nvSpPr>
        <cdr:cNvPr id="2" name="TextBox 1">
          <a:extLst xmlns:a="http://schemas.openxmlformats.org/drawingml/2006/main">
            <a:ext uri="{FF2B5EF4-FFF2-40B4-BE49-F238E27FC236}">
              <a16:creationId xmlns:a16="http://schemas.microsoft.com/office/drawing/2014/main" id="{09A27EC4-ED91-52F8-54C6-D858DE6039CC}"/>
            </a:ext>
          </a:extLst>
        </cdr:cNvPr>
        <cdr:cNvSpPr txBox="1"/>
      </cdr:nvSpPr>
      <cdr:spPr>
        <a:xfrm xmlns:a="http://schemas.openxmlformats.org/drawingml/2006/main" rot="16200000">
          <a:off x="-150406" y="1717824"/>
          <a:ext cx="937260" cy="359692"/>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200" dirty="0"/>
            <a:t>copies/mL</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3038258" cy="465292"/>
          </a:xfrm>
          <a:prstGeom prst="rect">
            <a:avLst/>
          </a:prstGeom>
        </p:spPr>
        <p:txBody>
          <a:bodyPr vert="horz" lIns="90416" tIns="45208" rIns="90416" bIns="45208"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970576" y="0"/>
            <a:ext cx="3038258" cy="465292"/>
          </a:xfrm>
          <a:prstGeom prst="rect">
            <a:avLst/>
          </a:prstGeom>
        </p:spPr>
        <p:txBody>
          <a:bodyPr vert="horz" lIns="90416" tIns="45208" rIns="90416" bIns="45208" rtlCol="0"/>
          <a:lstStyle>
            <a:lvl1pPr algn="r">
              <a:defRPr sz="1200"/>
            </a:lvl1pPr>
          </a:lstStyle>
          <a:p>
            <a:fld id="{C0DF7188-80B9-4267-9A48-64F61C54F8C3}" type="datetime3">
              <a:rPr lang="en-US" smtClean="0"/>
              <a:t>11 August 2022</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8831108"/>
            <a:ext cx="3038258" cy="465292"/>
          </a:xfrm>
          <a:prstGeom prst="rect">
            <a:avLst/>
          </a:prstGeom>
        </p:spPr>
        <p:txBody>
          <a:bodyPr vert="horz" lIns="90416" tIns="45208" rIns="90416" bIns="45208"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970576" y="8831108"/>
            <a:ext cx="3038258" cy="465292"/>
          </a:xfrm>
          <a:prstGeom prst="rect">
            <a:avLst/>
          </a:prstGeom>
        </p:spPr>
        <p:txBody>
          <a:bodyPr vert="horz" lIns="90416" tIns="45208" rIns="90416" bIns="45208"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04159" tIns="46586" rIns="93174" bIns="46586" rtlCol="0"/>
          <a:lstStyle>
            <a:lvl1pPr algn="l">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4" tIns="46586" rIns="904159" bIns="46586" rtlCol="0"/>
          <a:lstStyle>
            <a:lvl1pPr algn="r">
              <a:defRPr sz="900">
                <a:latin typeface="+mn-lt"/>
                <a:cs typeface="Arial" panose="020B0604020202020204" pitchFamily="34" charset="0"/>
              </a:defRPr>
            </a:lvl1pPr>
          </a:lstStyle>
          <a:p>
            <a:fld id="{39E811EC-5EEB-4DF1-8FB8-01E61B44A7C4}" type="datetime3">
              <a:rPr lang="en-US" smtClean="0"/>
              <a:t>11 August 2022</a:t>
            </a:fld>
            <a:endParaRPr lang="en-US" dirty="0"/>
          </a:p>
        </p:txBody>
      </p:sp>
      <p:sp>
        <p:nvSpPr>
          <p:cNvPr id="4" name="Slide Image Placeholder 3"/>
          <p:cNvSpPr>
            <a:spLocks noGrp="1" noRot="1" noChangeAspect="1"/>
          </p:cNvSpPr>
          <p:nvPr>
            <p:ph type="sldImg" idx="2"/>
          </p:nvPr>
        </p:nvSpPr>
        <p:spPr>
          <a:xfrm>
            <a:off x="990600" y="584200"/>
            <a:ext cx="5029200" cy="3771900"/>
          </a:xfrm>
          <a:prstGeom prst="rect">
            <a:avLst/>
          </a:prstGeom>
          <a:noFill/>
          <a:ln w="6350">
            <a:solidFill>
              <a:prstClr val="black"/>
            </a:solidFill>
          </a:ln>
        </p:spPr>
        <p:txBody>
          <a:bodyPr vert="horz" lIns="93174" tIns="46586" rIns="93174" bIns="46586" rtlCol="0" anchor="ctr"/>
          <a:lstStyle/>
          <a:p>
            <a:endParaRPr lang="en-US" dirty="0"/>
          </a:p>
        </p:txBody>
      </p:sp>
      <p:sp>
        <p:nvSpPr>
          <p:cNvPr id="6" name="Footer Placeholder 5"/>
          <p:cNvSpPr>
            <a:spLocks noGrp="1"/>
          </p:cNvSpPr>
          <p:nvPr>
            <p:ph type="ftr" sz="quarter" idx="4"/>
          </p:nvPr>
        </p:nvSpPr>
        <p:spPr>
          <a:xfrm>
            <a:off x="0" y="8829967"/>
            <a:ext cx="3037840" cy="466433"/>
          </a:xfrm>
          <a:prstGeom prst="rect">
            <a:avLst/>
          </a:prstGeom>
        </p:spPr>
        <p:txBody>
          <a:bodyPr vert="horz" lIns="904159" tIns="46586" rIns="93174" bIns="46586" rtlCol="0" anchor="b"/>
          <a:lstStyle>
            <a:lvl1pPr algn="l">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4" tIns="46586" rIns="904159" bIns="46586"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8" name="Notes Placeholder 7">
            <a:extLst>
              <a:ext uri="{FF2B5EF4-FFF2-40B4-BE49-F238E27FC236}">
                <a16:creationId xmlns:a16="http://schemas.microsoft.com/office/drawing/2014/main" id="{C9DD6736-F296-466C-A9BC-35AE03FEA2BA}"/>
              </a:ext>
            </a:extLst>
          </p:cNvPr>
          <p:cNvSpPr>
            <a:spLocks noGrp="1"/>
          </p:cNvSpPr>
          <p:nvPr>
            <p:ph type="body" sz="quarter" idx="3"/>
          </p:nvPr>
        </p:nvSpPr>
        <p:spPr>
          <a:xfrm>
            <a:off x="700413" y="4473716"/>
            <a:ext cx="5609574" cy="1000274"/>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buFontTx/>
      <a:buNone/>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r>
              <a:rPr lang="en-US" sz="1100" dirty="0">
                <a:latin typeface="+mj-lt"/>
              </a:rPr>
              <a:t> Massachusetts Water Resources Authority (MWRA), Amherst Public Works, Athol WWTP, Billerica Influent, Veolia Brockton Plant, Chicopee Plant, Fitchburg WWTP, Greenfield WWTP, Haverhill WWTP, Hull WWTP, Greater Lawrence Sanitary District, Fall River WWTP, North Brookfield WWTP, South Essex Sewage District, Pittsfield WWTP, Plymouth Headworks Influent, Provincetown Treatment Plant, South Hadley Water Pollution Control, Uxbridge WWTP, Wareham Water Pollution Control, and Upper Blackstone Clean Water. The following cities are covered by </a:t>
            </a:r>
          </a:p>
          <a:p>
            <a:endParaRPr lang="en-US" sz="1100" b="1" dirty="0">
              <a:latin typeface="+mj-lt"/>
            </a:endParaRPr>
          </a:p>
          <a:p>
            <a:r>
              <a:rPr lang="en-US" sz="1100" b="1" dirty="0">
                <a:solidFill>
                  <a:schemeClr val="tx2"/>
                </a:solidFill>
                <a:latin typeface="+mj-lt"/>
              </a:rPr>
              <a:t>What does wastewater surveillance data show? </a:t>
            </a:r>
          </a:p>
          <a:p>
            <a:r>
              <a:rPr lang="en-US" sz="11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1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200" dirty="0">
              <a:latin typeface="+mj-lt"/>
            </a:endParaRP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August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19378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r>
              <a:rPr lang="en-US" sz="1100" dirty="0">
                <a:latin typeface="+mj-lt"/>
              </a:rPr>
              <a:t> Massachusetts Water Resources Authority (MWRA), Amherst Public Works, Athol WWTP, Billerica Influent, Veolia Brockton Plant, Chicopee Plant, Fitchburg WWTP, Greenfield WWTP, Haverhill WWTP, Hull WWTP, Greater Lawrence Sanitary District, Fall River WWTP, North Brookfield WWTP, South Essex Sewage District, Pittsfield WWTP, Plymouth Headworks Influent, Provincetown Treatment Plant, South Hadley Water Pollution Control, Uxbridge WWTP, Wareham Water Pollution Control, and Upper Blackstone Clean Water. The following cities are covered by </a:t>
            </a:r>
          </a:p>
          <a:p>
            <a:endParaRPr lang="en-US" sz="1100" b="1" dirty="0">
              <a:latin typeface="+mj-lt"/>
            </a:endParaRPr>
          </a:p>
          <a:p>
            <a:r>
              <a:rPr lang="en-US" sz="1100" b="1" dirty="0">
                <a:solidFill>
                  <a:schemeClr val="tx2"/>
                </a:solidFill>
                <a:latin typeface="+mj-lt"/>
              </a:rPr>
              <a:t>What does wastewater surveillance data show? </a:t>
            </a:r>
          </a:p>
          <a:p>
            <a:r>
              <a:rPr lang="en-US" sz="11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1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200" dirty="0">
              <a:latin typeface="+mj-lt"/>
            </a:endParaRP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August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00370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100" dirty="0">
              <a:highlight>
                <a:srgbClr val="FFFF00"/>
              </a:highlight>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August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14765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100" dirty="0">
              <a:highlight>
                <a:srgbClr val="FFFF00"/>
              </a:highlight>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August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2345842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2.emf"/><Relationship Id="rId4" Type="http://schemas.openxmlformats.org/officeDocument/2006/relationships/tags" Target="../tags/tag27.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2.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oleObject" Target="../embeddings/oleObject11.bin"/><Relationship Id="rId5" Type="http://schemas.openxmlformats.org/officeDocument/2006/relationships/tags" Target="../tags/tag97.xml"/><Relationship Id="rId10" Type="http://schemas.openxmlformats.org/officeDocument/2006/relationships/slideMaster" Target="../slideMasters/slideMaster1.xml"/><Relationship Id="rId4" Type="http://schemas.openxmlformats.org/officeDocument/2006/relationships/tags" Target="../tags/tag96.xml"/><Relationship Id="rId9" Type="http://schemas.openxmlformats.org/officeDocument/2006/relationships/tags" Target="../tags/tag10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825.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3.emf"/><Relationship Id="rId2" Type="http://schemas.openxmlformats.org/officeDocument/2006/relationships/tags" Target="../tags/tag819.xml"/><Relationship Id="rId1" Type="http://schemas.openxmlformats.org/officeDocument/2006/relationships/tags" Target="../tags/tag818.xml"/><Relationship Id="rId6" Type="http://schemas.openxmlformats.org/officeDocument/2006/relationships/tags" Target="../tags/tag823.xml"/><Relationship Id="rId11" Type="http://schemas.openxmlformats.org/officeDocument/2006/relationships/oleObject" Target="../embeddings/oleObject104.bin"/><Relationship Id="rId5" Type="http://schemas.openxmlformats.org/officeDocument/2006/relationships/tags" Target="../tags/tag822.xml"/><Relationship Id="rId10" Type="http://schemas.openxmlformats.org/officeDocument/2006/relationships/slideMaster" Target="../slideMasters/slideMaster7.xml"/><Relationship Id="rId4" Type="http://schemas.openxmlformats.org/officeDocument/2006/relationships/tags" Target="../tags/tag821.xml"/><Relationship Id="rId9" Type="http://schemas.openxmlformats.org/officeDocument/2006/relationships/tags" Target="../tags/tag826.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834.xml"/><Relationship Id="rId3" Type="http://schemas.openxmlformats.org/officeDocument/2006/relationships/tags" Target="../tags/tag829.xml"/><Relationship Id="rId7" Type="http://schemas.openxmlformats.org/officeDocument/2006/relationships/tags" Target="../tags/tag833.xml"/><Relationship Id="rId12" Type="http://schemas.openxmlformats.org/officeDocument/2006/relationships/image" Target="../media/image3.emf"/><Relationship Id="rId2" Type="http://schemas.openxmlformats.org/officeDocument/2006/relationships/tags" Target="../tags/tag828.xml"/><Relationship Id="rId1" Type="http://schemas.openxmlformats.org/officeDocument/2006/relationships/tags" Target="../tags/tag827.xml"/><Relationship Id="rId6" Type="http://schemas.openxmlformats.org/officeDocument/2006/relationships/tags" Target="../tags/tag832.xml"/><Relationship Id="rId11" Type="http://schemas.openxmlformats.org/officeDocument/2006/relationships/oleObject" Target="../embeddings/oleObject105.bin"/><Relationship Id="rId5" Type="http://schemas.openxmlformats.org/officeDocument/2006/relationships/tags" Target="../tags/tag831.xml"/><Relationship Id="rId10" Type="http://schemas.openxmlformats.org/officeDocument/2006/relationships/slideMaster" Target="../slideMasters/slideMaster7.xml"/><Relationship Id="rId4" Type="http://schemas.openxmlformats.org/officeDocument/2006/relationships/tags" Target="../tags/tag830.xml"/><Relationship Id="rId9" Type="http://schemas.openxmlformats.org/officeDocument/2006/relationships/tags" Target="../tags/tag835.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43.xml"/><Relationship Id="rId3" Type="http://schemas.openxmlformats.org/officeDocument/2006/relationships/tags" Target="../tags/tag838.xml"/><Relationship Id="rId7" Type="http://schemas.openxmlformats.org/officeDocument/2006/relationships/tags" Target="../tags/tag842.xml"/><Relationship Id="rId12" Type="http://schemas.openxmlformats.org/officeDocument/2006/relationships/image" Target="../media/image2.emf"/><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tags" Target="../tags/tag841.xml"/><Relationship Id="rId11" Type="http://schemas.openxmlformats.org/officeDocument/2006/relationships/oleObject" Target="../embeddings/oleObject106.bin"/><Relationship Id="rId5" Type="http://schemas.openxmlformats.org/officeDocument/2006/relationships/tags" Target="../tags/tag840.xml"/><Relationship Id="rId10" Type="http://schemas.openxmlformats.org/officeDocument/2006/relationships/slideMaster" Target="../slideMasters/slideMaster7.xml"/><Relationship Id="rId4" Type="http://schemas.openxmlformats.org/officeDocument/2006/relationships/tags" Target="../tags/tag839.xml"/><Relationship Id="rId9" Type="http://schemas.openxmlformats.org/officeDocument/2006/relationships/tags" Target="../tags/tag844.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52.xml"/><Relationship Id="rId3" Type="http://schemas.openxmlformats.org/officeDocument/2006/relationships/tags" Target="../tags/tag847.xml"/><Relationship Id="rId7" Type="http://schemas.openxmlformats.org/officeDocument/2006/relationships/tags" Target="../tags/tag851.xml"/><Relationship Id="rId12" Type="http://schemas.openxmlformats.org/officeDocument/2006/relationships/image" Target="../media/image2.emf"/><Relationship Id="rId2" Type="http://schemas.openxmlformats.org/officeDocument/2006/relationships/tags" Target="../tags/tag846.xml"/><Relationship Id="rId1" Type="http://schemas.openxmlformats.org/officeDocument/2006/relationships/tags" Target="../tags/tag845.xml"/><Relationship Id="rId6" Type="http://schemas.openxmlformats.org/officeDocument/2006/relationships/tags" Target="../tags/tag850.xml"/><Relationship Id="rId11" Type="http://schemas.openxmlformats.org/officeDocument/2006/relationships/oleObject" Target="../embeddings/oleObject107.bin"/><Relationship Id="rId5" Type="http://schemas.openxmlformats.org/officeDocument/2006/relationships/tags" Target="../tags/tag849.xml"/><Relationship Id="rId10" Type="http://schemas.openxmlformats.org/officeDocument/2006/relationships/slideMaster" Target="../slideMasters/slideMaster7.xml"/><Relationship Id="rId4" Type="http://schemas.openxmlformats.org/officeDocument/2006/relationships/tags" Target="../tags/tag848.xml"/><Relationship Id="rId9" Type="http://schemas.openxmlformats.org/officeDocument/2006/relationships/tags" Target="../tags/tag853.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861.xml"/><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image" Target="../media/image3.emf"/><Relationship Id="rId2" Type="http://schemas.openxmlformats.org/officeDocument/2006/relationships/tags" Target="../tags/tag855.xml"/><Relationship Id="rId1" Type="http://schemas.openxmlformats.org/officeDocument/2006/relationships/tags" Target="../tags/tag854.xml"/><Relationship Id="rId6" Type="http://schemas.openxmlformats.org/officeDocument/2006/relationships/tags" Target="../tags/tag859.xml"/><Relationship Id="rId11" Type="http://schemas.openxmlformats.org/officeDocument/2006/relationships/oleObject" Target="../embeddings/oleObject108.bin"/><Relationship Id="rId5" Type="http://schemas.openxmlformats.org/officeDocument/2006/relationships/tags" Target="../tags/tag858.xml"/><Relationship Id="rId10" Type="http://schemas.openxmlformats.org/officeDocument/2006/relationships/slideMaster" Target="../slideMasters/slideMaster7.xml"/><Relationship Id="rId4" Type="http://schemas.openxmlformats.org/officeDocument/2006/relationships/tags" Target="../tags/tag857.xml"/><Relationship Id="rId9" Type="http://schemas.openxmlformats.org/officeDocument/2006/relationships/tags" Target="../tags/tag862.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65.xml"/><Relationship Id="rId7" Type="http://schemas.openxmlformats.org/officeDocument/2006/relationships/tags" Target="../tags/tag869.xml"/><Relationship Id="rId2" Type="http://schemas.openxmlformats.org/officeDocument/2006/relationships/tags" Target="../tags/tag864.xml"/><Relationship Id="rId1" Type="http://schemas.openxmlformats.org/officeDocument/2006/relationships/tags" Target="../tags/tag863.xml"/><Relationship Id="rId6" Type="http://schemas.openxmlformats.org/officeDocument/2006/relationships/tags" Target="../tags/tag868.xml"/><Relationship Id="rId5" Type="http://schemas.openxmlformats.org/officeDocument/2006/relationships/tags" Target="../tags/tag867.xml"/><Relationship Id="rId10" Type="http://schemas.openxmlformats.org/officeDocument/2006/relationships/image" Target="../media/image1.emf"/><Relationship Id="rId4" Type="http://schemas.openxmlformats.org/officeDocument/2006/relationships/tags" Target="../tags/tag866.xml"/><Relationship Id="rId9" Type="http://schemas.openxmlformats.org/officeDocument/2006/relationships/oleObject" Target="../embeddings/oleObject109.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72.xml"/><Relationship Id="rId7" Type="http://schemas.openxmlformats.org/officeDocument/2006/relationships/oleObject" Target="../embeddings/oleObject110.bin"/><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slideMaster" Target="../slideMasters/slideMaster7.xml"/><Relationship Id="rId5" Type="http://schemas.openxmlformats.org/officeDocument/2006/relationships/tags" Target="../tags/tag874.xml"/><Relationship Id="rId4" Type="http://schemas.openxmlformats.org/officeDocument/2006/relationships/tags" Target="../tags/tag87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877.xml"/><Relationship Id="rId2" Type="http://schemas.openxmlformats.org/officeDocument/2006/relationships/tags" Target="../tags/tag876.xml"/><Relationship Id="rId1" Type="http://schemas.openxmlformats.org/officeDocument/2006/relationships/tags" Target="../tags/tag875.xml"/><Relationship Id="rId6" Type="http://schemas.openxmlformats.org/officeDocument/2006/relationships/image" Target="../media/image2.emf"/><Relationship Id="rId5" Type="http://schemas.openxmlformats.org/officeDocument/2006/relationships/oleObject" Target="../embeddings/oleObject111.bin"/><Relationship Id="rId4"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2.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oleObject" Target="../embeddings/oleObject12.bin"/><Relationship Id="rId5" Type="http://schemas.openxmlformats.org/officeDocument/2006/relationships/tags" Target="../tags/tag106.xml"/><Relationship Id="rId10" Type="http://schemas.openxmlformats.org/officeDocument/2006/relationships/slideMaster" Target="../slideMasters/slideMaster1.xml"/><Relationship Id="rId4" Type="http://schemas.openxmlformats.org/officeDocument/2006/relationships/tags" Target="../tags/tag105.xml"/><Relationship Id="rId9" Type="http://schemas.openxmlformats.org/officeDocument/2006/relationships/tags" Target="../tags/tag110.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oleObject" Target="../embeddings/oleObject13.bin"/><Relationship Id="rId5" Type="http://schemas.openxmlformats.org/officeDocument/2006/relationships/tags" Target="../tags/tag115.xml"/><Relationship Id="rId10" Type="http://schemas.openxmlformats.org/officeDocument/2006/relationships/slideMaster" Target="../slideMasters/slideMaster1.xml"/><Relationship Id="rId4" Type="http://schemas.openxmlformats.org/officeDocument/2006/relationships/tags" Target="../tags/tag114.xml"/><Relationship Id="rId9" Type="http://schemas.openxmlformats.org/officeDocument/2006/relationships/tags" Target="../tags/tag119.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image" Target="../media/image1.emf"/><Relationship Id="rId4" Type="http://schemas.openxmlformats.org/officeDocument/2006/relationships/tags" Target="../tags/tag123.xml"/><Relationship Id="rId9"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9.xml"/><Relationship Id="rId7" Type="http://schemas.openxmlformats.org/officeDocument/2006/relationships/oleObject" Target="../embeddings/oleObject15.bin"/><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1.xml"/><Relationship Id="rId5" Type="http://schemas.openxmlformats.org/officeDocument/2006/relationships/tags" Target="../tags/tag131.xml"/><Relationship Id="rId4" Type="http://schemas.openxmlformats.org/officeDocument/2006/relationships/tags" Target="../tags/tag13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10" Type="http://schemas.openxmlformats.org/officeDocument/2006/relationships/image" Target="../media/image2.emf"/><Relationship Id="rId4" Type="http://schemas.openxmlformats.org/officeDocument/2006/relationships/tags" Target="../tags/tag159.xml"/><Relationship Id="rId9"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65.xml"/><Relationship Id="rId7"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71.xml"/><Relationship Id="rId7"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77.xml"/><Relationship Id="rId7"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5" Type="http://schemas.openxmlformats.org/officeDocument/2006/relationships/tags" Target="../tags/tag179.xml"/><Relationship Id="rId4" Type="http://schemas.openxmlformats.org/officeDocument/2006/relationships/tags" Target="../tags/tag178.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2.emf"/><Relationship Id="rId4" Type="http://schemas.openxmlformats.org/officeDocument/2006/relationships/tags" Target="../tags/tag34.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83.xml"/><Relationship Id="rId7"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tags" Target="../tags/tag186.xml"/><Relationship Id="rId5" Type="http://schemas.openxmlformats.org/officeDocument/2006/relationships/tags" Target="../tags/tag185.xml"/><Relationship Id="rId4" Type="http://schemas.openxmlformats.org/officeDocument/2006/relationships/tags" Target="../tags/tag184.xml"/><Relationship Id="rId9"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2.emf"/><Relationship Id="rId4" Type="http://schemas.openxmlformats.org/officeDocument/2006/relationships/tags" Target="../tags/tag190.xml"/><Relationship Id="rId9"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01.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3.emf"/><Relationship Id="rId5" Type="http://schemas.openxmlformats.org/officeDocument/2006/relationships/tags" Target="../tags/tag198.xml"/><Relationship Id="rId10" Type="http://schemas.openxmlformats.org/officeDocument/2006/relationships/oleObject" Target="../embeddings/oleObject24.bin"/><Relationship Id="rId4" Type="http://schemas.openxmlformats.org/officeDocument/2006/relationships/tags" Target="../tags/tag197.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9.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image" Target="../media/image3.emf"/><Relationship Id="rId5" Type="http://schemas.openxmlformats.org/officeDocument/2006/relationships/tags" Target="../tags/tag206.xml"/><Relationship Id="rId10" Type="http://schemas.openxmlformats.org/officeDocument/2006/relationships/oleObject" Target="../embeddings/oleObject25.bin"/><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7.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image" Target="../media/image2.emf"/><Relationship Id="rId5" Type="http://schemas.openxmlformats.org/officeDocument/2006/relationships/tags" Target="../tags/tag214.xml"/><Relationship Id="rId10" Type="http://schemas.openxmlformats.org/officeDocument/2006/relationships/oleObject" Target="../embeddings/oleObject26.bin"/><Relationship Id="rId4" Type="http://schemas.openxmlformats.org/officeDocument/2006/relationships/tags" Target="../tags/tag213.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image" Target="../media/image2.emf"/><Relationship Id="rId5" Type="http://schemas.openxmlformats.org/officeDocument/2006/relationships/tags" Target="../tags/tag222.xml"/><Relationship Id="rId10" Type="http://schemas.openxmlformats.org/officeDocument/2006/relationships/oleObject" Target="../embeddings/oleObject27.bin"/><Relationship Id="rId4" Type="http://schemas.openxmlformats.org/officeDocument/2006/relationships/tags" Target="../tags/tag221.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33.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image" Target="../media/image2.emf"/><Relationship Id="rId5" Type="http://schemas.openxmlformats.org/officeDocument/2006/relationships/tags" Target="../tags/tag230.xml"/><Relationship Id="rId10" Type="http://schemas.openxmlformats.org/officeDocument/2006/relationships/oleObject" Target="../embeddings/oleObject28.bin"/><Relationship Id="rId4" Type="http://schemas.openxmlformats.org/officeDocument/2006/relationships/tags" Target="../tags/tag229.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36.xml"/><Relationship Id="rId7"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2.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24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1.emf"/><Relationship Id="rId5" Type="http://schemas.openxmlformats.org/officeDocument/2006/relationships/tags" Target="../tags/tag42.xml"/><Relationship Id="rId10" Type="http://schemas.openxmlformats.org/officeDocument/2006/relationships/oleObject" Target="../embeddings/oleObject4.bin"/><Relationship Id="rId4" Type="http://schemas.openxmlformats.org/officeDocument/2006/relationships/tags" Target="../tags/tag4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0.xml"/><Relationship Id="rId7" Type="http://schemas.openxmlformats.org/officeDocument/2006/relationships/tags" Target="../tags/tag274.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10" Type="http://schemas.openxmlformats.org/officeDocument/2006/relationships/image" Target="../media/image2.emf"/><Relationship Id="rId4" Type="http://schemas.openxmlformats.org/officeDocument/2006/relationships/tags" Target="../tags/tag271.xml"/><Relationship Id="rId9" Type="http://schemas.openxmlformats.org/officeDocument/2006/relationships/oleObject" Target="../embeddings/oleObject33.bin"/></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7.xml"/><Relationship Id="rId7" Type="http://schemas.openxmlformats.org/officeDocument/2006/relationships/tags" Target="../tags/tag281.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5" Type="http://schemas.openxmlformats.org/officeDocument/2006/relationships/tags" Target="../tags/tag279.xml"/><Relationship Id="rId10" Type="http://schemas.openxmlformats.org/officeDocument/2006/relationships/image" Target="../media/image2.emf"/><Relationship Id="rId4" Type="http://schemas.openxmlformats.org/officeDocument/2006/relationships/tags" Target="../tags/tag278.xml"/><Relationship Id="rId9"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89.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image" Target="../media/image1.emf"/><Relationship Id="rId5" Type="http://schemas.openxmlformats.org/officeDocument/2006/relationships/tags" Target="../tags/tag286.xml"/><Relationship Id="rId10" Type="http://schemas.openxmlformats.org/officeDocument/2006/relationships/oleObject" Target="../embeddings/oleObject35.bin"/><Relationship Id="rId4" Type="http://schemas.openxmlformats.org/officeDocument/2006/relationships/tags" Target="../tags/tag285.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2.xml"/><Relationship Id="rId7" Type="http://schemas.openxmlformats.org/officeDocument/2006/relationships/tags" Target="../tags/tag296.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tags" Target="../tags/tag295.xml"/><Relationship Id="rId5" Type="http://schemas.openxmlformats.org/officeDocument/2006/relationships/tags" Target="../tags/tag294.xml"/><Relationship Id="rId10" Type="http://schemas.openxmlformats.org/officeDocument/2006/relationships/image" Target="../media/image2.emf"/><Relationship Id="rId4" Type="http://schemas.openxmlformats.org/officeDocument/2006/relationships/tags" Target="../tags/tag293.xml"/><Relationship Id="rId9" Type="http://schemas.openxmlformats.org/officeDocument/2006/relationships/oleObject" Target="../embeddings/oleObject36.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9.xml"/><Relationship Id="rId7" Type="http://schemas.openxmlformats.org/officeDocument/2006/relationships/tags" Target="../tags/tag303.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tags" Target="../tags/tag302.xml"/><Relationship Id="rId5" Type="http://schemas.openxmlformats.org/officeDocument/2006/relationships/tags" Target="../tags/tag301.xml"/><Relationship Id="rId10" Type="http://schemas.openxmlformats.org/officeDocument/2006/relationships/image" Target="../media/image2.emf"/><Relationship Id="rId4" Type="http://schemas.openxmlformats.org/officeDocument/2006/relationships/tags" Target="../tags/tag300.xml"/><Relationship Id="rId9" Type="http://schemas.openxmlformats.org/officeDocument/2006/relationships/oleObject" Target="../embeddings/oleObject37.bin"/></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6.xml"/><Relationship Id="rId7" Type="http://schemas.openxmlformats.org/officeDocument/2006/relationships/tags" Target="../tags/tag310.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5" Type="http://schemas.openxmlformats.org/officeDocument/2006/relationships/tags" Target="../tags/tag308.xml"/><Relationship Id="rId10" Type="http://schemas.openxmlformats.org/officeDocument/2006/relationships/image" Target="../media/image2.emf"/><Relationship Id="rId4" Type="http://schemas.openxmlformats.org/officeDocument/2006/relationships/tags" Target="../tags/tag307.xml"/><Relationship Id="rId9" Type="http://schemas.openxmlformats.org/officeDocument/2006/relationships/oleObject" Target="../embeddings/oleObject38.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18.xml"/><Relationship Id="rId3" Type="http://schemas.openxmlformats.org/officeDocument/2006/relationships/tags" Target="../tags/tag313.xml"/><Relationship Id="rId7" Type="http://schemas.openxmlformats.org/officeDocument/2006/relationships/tags" Target="../tags/tag317.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image" Target="../media/image2.emf"/><Relationship Id="rId5" Type="http://schemas.openxmlformats.org/officeDocument/2006/relationships/tags" Target="../tags/tag315.xml"/><Relationship Id="rId10" Type="http://schemas.openxmlformats.org/officeDocument/2006/relationships/oleObject" Target="../embeddings/oleObject39.bin"/><Relationship Id="rId4" Type="http://schemas.openxmlformats.org/officeDocument/2006/relationships/tags" Target="../tags/tag314.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26.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3.emf"/><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oleObject" Target="../embeddings/oleObject40.bin"/><Relationship Id="rId5" Type="http://schemas.openxmlformats.org/officeDocument/2006/relationships/tags" Target="../tags/tag323.xml"/><Relationship Id="rId10" Type="http://schemas.openxmlformats.org/officeDocument/2006/relationships/slideMaster" Target="../slideMasters/slideMaster3.xml"/><Relationship Id="rId4" Type="http://schemas.openxmlformats.org/officeDocument/2006/relationships/tags" Target="../tags/tag322.xml"/><Relationship Id="rId9" Type="http://schemas.openxmlformats.org/officeDocument/2006/relationships/tags" Target="../tags/tag327.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35.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3.emf"/><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11" Type="http://schemas.openxmlformats.org/officeDocument/2006/relationships/oleObject" Target="../embeddings/oleObject41.bin"/><Relationship Id="rId5" Type="http://schemas.openxmlformats.org/officeDocument/2006/relationships/tags" Target="../tags/tag332.xml"/><Relationship Id="rId10" Type="http://schemas.openxmlformats.org/officeDocument/2006/relationships/slideMaster" Target="../slideMasters/slideMaster3.xml"/><Relationship Id="rId4" Type="http://schemas.openxmlformats.org/officeDocument/2006/relationships/tags" Target="../tags/tag331.xml"/><Relationship Id="rId9" Type="http://schemas.openxmlformats.org/officeDocument/2006/relationships/tags" Target="../tags/tag336.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44.xml"/><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image" Target="../media/image2.emf"/><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oleObject" Target="../embeddings/oleObject42.bin"/><Relationship Id="rId5" Type="http://schemas.openxmlformats.org/officeDocument/2006/relationships/tags" Target="../tags/tag341.xml"/><Relationship Id="rId10" Type="http://schemas.openxmlformats.org/officeDocument/2006/relationships/slideMaster" Target="../slideMasters/slideMaster3.xml"/><Relationship Id="rId4" Type="http://schemas.openxmlformats.org/officeDocument/2006/relationships/tags" Target="../tags/tag340.xml"/><Relationship Id="rId9" Type="http://schemas.openxmlformats.org/officeDocument/2006/relationships/tags" Target="../tags/tag345.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2.emf"/><Relationship Id="rId4" Type="http://schemas.openxmlformats.org/officeDocument/2006/relationships/tags" Target="../tags/tag49.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2.emf"/><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oleObject" Target="../embeddings/oleObject43.bin"/><Relationship Id="rId5" Type="http://schemas.openxmlformats.org/officeDocument/2006/relationships/tags" Target="../tags/tag350.xml"/><Relationship Id="rId10" Type="http://schemas.openxmlformats.org/officeDocument/2006/relationships/slideMaster" Target="../slideMasters/slideMaster3.xml"/><Relationship Id="rId4" Type="http://schemas.openxmlformats.org/officeDocument/2006/relationships/tags" Target="../tags/tag349.xml"/><Relationship Id="rId9" Type="http://schemas.openxmlformats.org/officeDocument/2006/relationships/tags" Target="../tags/tag354.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62.xml"/><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image" Target="../media/image3.emf"/><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oleObject" Target="../embeddings/oleObject44.bin"/><Relationship Id="rId5" Type="http://schemas.openxmlformats.org/officeDocument/2006/relationships/tags" Target="../tags/tag359.xml"/><Relationship Id="rId10" Type="http://schemas.openxmlformats.org/officeDocument/2006/relationships/slideMaster" Target="../slideMasters/slideMaster3.xml"/><Relationship Id="rId4" Type="http://schemas.openxmlformats.org/officeDocument/2006/relationships/tags" Target="../tags/tag358.xml"/><Relationship Id="rId9" Type="http://schemas.openxmlformats.org/officeDocument/2006/relationships/tags" Target="../tags/tag363.xml"/></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66.xml"/><Relationship Id="rId7" Type="http://schemas.openxmlformats.org/officeDocument/2006/relationships/tags" Target="../tags/tag370.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tags" Target="../tags/tag369.xml"/><Relationship Id="rId5" Type="http://schemas.openxmlformats.org/officeDocument/2006/relationships/tags" Target="../tags/tag368.xml"/><Relationship Id="rId10" Type="http://schemas.openxmlformats.org/officeDocument/2006/relationships/image" Target="../media/image1.emf"/><Relationship Id="rId4" Type="http://schemas.openxmlformats.org/officeDocument/2006/relationships/tags" Target="../tags/tag367.xml"/><Relationship Id="rId9"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73.xml"/><Relationship Id="rId7" Type="http://schemas.openxmlformats.org/officeDocument/2006/relationships/oleObject" Target="../embeddings/oleObject46.bin"/><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slideMaster" Target="../slideMasters/slideMaster3.xml"/><Relationship Id="rId5" Type="http://schemas.openxmlformats.org/officeDocument/2006/relationships/tags" Target="../tags/tag375.xml"/><Relationship Id="rId4" Type="http://schemas.openxmlformats.org/officeDocument/2006/relationships/tags" Target="../tags/tag37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3.xml"/><Relationship Id="rId1" Type="http://schemas.openxmlformats.org/officeDocument/2006/relationships/tags" Target="../tags/tag382.x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07.xml"/><Relationship Id="rId7" Type="http://schemas.openxmlformats.org/officeDocument/2006/relationships/tags" Target="../tags/tag411.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tags" Target="../tags/tag410.xml"/><Relationship Id="rId5" Type="http://schemas.openxmlformats.org/officeDocument/2006/relationships/tags" Target="../tags/tag409.xml"/><Relationship Id="rId10" Type="http://schemas.openxmlformats.org/officeDocument/2006/relationships/image" Target="../media/image2.emf"/><Relationship Id="rId4" Type="http://schemas.openxmlformats.org/officeDocument/2006/relationships/tags" Target="../tags/tag408.xml"/><Relationship Id="rId9"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14.xml"/><Relationship Id="rId7" Type="http://schemas.openxmlformats.org/officeDocument/2006/relationships/tags" Target="../tags/tag418.xml"/><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tags" Target="../tags/tag417.xml"/><Relationship Id="rId5" Type="http://schemas.openxmlformats.org/officeDocument/2006/relationships/tags" Target="../tags/tag416.xml"/><Relationship Id="rId10" Type="http://schemas.openxmlformats.org/officeDocument/2006/relationships/image" Target="../media/image1.emf"/><Relationship Id="rId4" Type="http://schemas.openxmlformats.org/officeDocument/2006/relationships/tags" Target="../tags/tag415.xml"/><Relationship Id="rId9" Type="http://schemas.openxmlformats.org/officeDocument/2006/relationships/oleObject" Target="../embeddings/oleObject52.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2.emf"/><Relationship Id="rId4" Type="http://schemas.openxmlformats.org/officeDocument/2006/relationships/tags" Target="../tags/tag56.xml"/><Relationship Id="rId9"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421.xml"/><Relationship Id="rId7" Type="http://schemas.openxmlformats.org/officeDocument/2006/relationships/slideMaster" Target="../slideMasters/slideMaster4.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tags" Target="../tags/tag424.xml"/><Relationship Id="rId5" Type="http://schemas.openxmlformats.org/officeDocument/2006/relationships/tags" Target="../tags/tag423.xml"/><Relationship Id="rId4" Type="http://schemas.openxmlformats.org/officeDocument/2006/relationships/tags" Target="../tags/tag422.xml"/><Relationship Id="rId9"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27.xml"/><Relationship Id="rId7" Type="http://schemas.openxmlformats.org/officeDocument/2006/relationships/tags" Target="../tags/tag431.xml"/><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tags" Target="../tags/tag430.xml"/><Relationship Id="rId5" Type="http://schemas.openxmlformats.org/officeDocument/2006/relationships/tags" Target="../tags/tag429.xml"/><Relationship Id="rId10" Type="http://schemas.openxmlformats.org/officeDocument/2006/relationships/image" Target="../media/image2.emf"/><Relationship Id="rId4" Type="http://schemas.openxmlformats.org/officeDocument/2006/relationships/tags" Target="../tags/tag428.xml"/><Relationship Id="rId9"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434.xml"/><Relationship Id="rId7" Type="http://schemas.openxmlformats.org/officeDocument/2006/relationships/slideMaster" Target="../slideMasters/slideMaster4.xml"/><Relationship Id="rId2" Type="http://schemas.openxmlformats.org/officeDocument/2006/relationships/tags" Target="../tags/tag433.xml"/><Relationship Id="rId1" Type="http://schemas.openxmlformats.org/officeDocument/2006/relationships/tags" Target="../tags/tag432.xml"/><Relationship Id="rId6" Type="http://schemas.openxmlformats.org/officeDocument/2006/relationships/tags" Target="../tags/tag437.xml"/><Relationship Id="rId5" Type="http://schemas.openxmlformats.org/officeDocument/2006/relationships/tags" Target="../tags/tag436.xml"/><Relationship Id="rId4" Type="http://schemas.openxmlformats.org/officeDocument/2006/relationships/tags" Target="../tags/tag435.xml"/><Relationship Id="rId9"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40.xml"/><Relationship Id="rId7" Type="http://schemas.openxmlformats.org/officeDocument/2006/relationships/tags" Target="../tags/tag444.xml"/><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tags" Target="../tags/tag443.xml"/><Relationship Id="rId5" Type="http://schemas.openxmlformats.org/officeDocument/2006/relationships/tags" Target="../tags/tag442.xml"/><Relationship Id="rId10" Type="http://schemas.openxmlformats.org/officeDocument/2006/relationships/image" Target="../media/image2.emf"/><Relationship Id="rId4" Type="http://schemas.openxmlformats.org/officeDocument/2006/relationships/tags" Target="../tags/tag441.xml"/><Relationship Id="rId9" Type="http://schemas.openxmlformats.org/officeDocument/2006/relationships/oleObject" Target="../embeddings/oleObject56.bin"/></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52.xml"/><Relationship Id="rId3" Type="http://schemas.openxmlformats.org/officeDocument/2006/relationships/tags" Target="../tags/tag447.xml"/><Relationship Id="rId7" Type="http://schemas.openxmlformats.org/officeDocument/2006/relationships/tags" Target="../tags/tag451.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image" Target="../media/image3.emf"/><Relationship Id="rId5" Type="http://schemas.openxmlformats.org/officeDocument/2006/relationships/tags" Target="../tags/tag449.xml"/><Relationship Id="rId10" Type="http://schemas.openxmlformats.org/officeDocument/2006/relationships/oleObject" Target="../embeddings/oleObject57.bin"/><Relationship Id="rId4" Type="http://schemas.openxmlformats.org/officeDocument/2006/relationships/tags" Target="../tags/tag448.xml"/><Relationship Id="rId9"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460.xml"/><Relationship Id="rId3" Type="http://schemas.openxmlformats.org/officeDocument/2006/relationships/tags" Target="../tags/tag455.xml"/><Relationship Id="rId7" Type="http://schemas.openxmlformats.org/officeDocument/2006/relationships/tags" Target="../tags/tag459.xml"/><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image" Target="../media/image3.emf"/><Relationship Id="rId5" Type="http://schemas.openxmlformats.org/officeDocument/2006/relationships/tags" Target="../tags/tag457.xml"/><Relationship Id="rId10" Type="http://schemas.openxmlformats.org/officeDocument/2006/relationships/oleObject" Target="../embeddings/oleObject58.bin"/><Relationship Id="rId4" Type="http://schemas.openxmlformats.org/officeDocument/2006/relationships/tags" Target="../tags/tag456.xml"/><Relationship Id="rId9"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468.xml"/><Relationship Id="rId3" Type="http://schemas.openxmlformats.org/officeDocument/2006/relationships/tags" Target="../tags/tag463.xml"/><Relationship Id="rId7" Type="http://schemas.openxmlformats.org/officeDocument/2006/relationships/tags" Target="../tags/tag467.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image" Target="../media/image2.emf"/><Relationship Id="rId5" Type="http://schemas.openxmlformats.org/officeDocument/2006/relationships/tags" Target="../tags/tag465.xml"/><Relationship Id="rId10" Type="http://schemas.openxmlformats.org/officeDocument/2006/relationships/oleObject" Target="../embeddings/oleObject59.bin"/><Relationship Id="rId4" Type="http://schemas.openxmlformats.org/officeDocument/2006/relationships/tags" Target="../tags/tag464.xml"/><Relationship Id="rId9"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76.xml"/><Relationship Id="rId3" Type="http://schemas.openxmlformats.org/officeDocument/2006/relationships/tags" Target="../tags/tag471.xml"/><Relationship Id="rId7" Type="http://schemas.openxmlformats.org/officeDocument/2006/relationships/tags" Target="../tags/tag475.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image" Target="../media/image2.emf"/><Relationship Id="rId5" Type="http://schemas.openxmlformats.org/officeDocument/2006/relationships/tags" Target="../tags/tag473.xml"/><Relationship Id="rId10" Type="http://schemas.openxmlformats.org/officeDocument/2006/relationships/oleObject" Target="../embeddings/oleObject60.bin"/><Relationship Id="rId4" Type="http://schemas.openxmlformats.org/officeDocument/2006/relationships/tags" Target="../tags/tag47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image" Target="../media/image3.emf"/><Relationship Id="rId5" Type="http://schemas.openxmlformats.org/officeDocument/2006/relationships/tags" Target="../tags/tag481.xml"/><Relationship Id="rId10" Type="http://schemas.openxmlformats.org/officeDocument/2006/relationships/oleObject" Target="../embeddings/oleObject61.bin"/><Relationship Id="rId4" Type="http://schemas.openxmlformats.org/officeDocument/2006/relationships/tags" Target="../tags/tag480.xml"/><Relationship Id="rId9"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487.xml"/><Relationship Id="rId7" Type="http://schemas.openxmlformats.org/officeDocument/2006/relationships/slideMaster" Target="../slideMasters/slideMaster4.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tags" Target="../tags/tag490.xml"/><Relationship Id="rId5" Type="http://schemas.openxmlformats.org/officeDocument/2006/relationships/tags" Target="../tags/tag489.xml"/><Relationship Id="rId4" Type="http://schemas.openxmlformats.org/officeDocument/2006/relationships/tags" Target="../tags/tag488.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2.emf"/><Relationship Id="rId4" Type="http://schemas.openxmlformats.org/officeDocument/2006/relationships/tags" Target="../tags/tag63.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image" Target="../media/image2.emf"/><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49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22.xml"/><Relationship Id="rId7" Type="http://schemas.openxmlformats.org/officeDocument/2006/relationships/tags" Target="../tags/tag526.xml"/><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tags" Target="../tags/tag525.xml"/><Relationship Id="rId5" Type="http://schemas.openxmlformats.org/officeDocument/2006/relationships/tags" Target="../tags/tag524.xml"/><Relationship Id="rId10" Type="http://schemas.openxmlformats.org/officeDocument/2006/relationships/image" Target="../media/image2.emf"/><Relationship Id="rId4" Type="http://schemas.openxmlformats.org/officeDocument/2006/relationships/tags" Target="../tags/tag523.xml"/><Relationship Id="rId9"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29.xml"/><Relationship Id="rId7" Type="http://schemas.openxmlformats.org/officeDocument/2006/relationships/tags" Target="../tags/tag533.xml"/><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tags" Target="../tags/tag532.xml"/><Relationship Id="rId5" Type="http://schemas.openxmlformats.org/officeDocument/2006/relationships/tags" Target="../tags/tag531.xml"/><Relationship Id="rId10" Type="http://schemas.openxmlformats.org/officeDocument/2006/relationships/image" Target="../media/image2.emf"/><Relationship Id="rId4" Type="http://schemas.openxmlformats.org/officeDocument/2006/relationships/tags" Target="../tags/tag530.xml"/><Relationship Id="rId9"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541.xml"/><Relationship Id="rId3" Type="http://schemas.openxmlformats.org/officeDocument/2006/relationships/tags" Target="../tags/tag536.xml"/><Relationship Id="rId7" Type="http://schemas.openxmlformats.org/officeDocument/2006/relationships/tags" Target="../tags/tag540.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11" Type="http://schemas.openxmlformats.org/officeDocument/2006/relationships/image" Target="../media/image1.emf"/><Relationship Id="rId5" Type="http://schemas.openxmlformats.org/officeDocument/2006/relationships/tags" Target="../tags/tag538.xml"/><Relationship Id="rId10" Type="http://schemas.openxmlformats.org/officeDocument/2006/relationships/oleObject" Target="../embeddings/oleObject68.bin"/><Relationship Id="rId4" Type="http://schemas.openxmlformats.org/officeDocument/2006/relationships/tags" Target="../tags/tag537.xml"/><Relationship Id="rId9"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44.xml"/><Relationship Id="rId7" Type="http://schemas.openxmlformats.org/officeDocument/2006/relationships/tags" Target="../tags/tag548.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10" Type="http://schemas.openxmlformats.org/officeDocument/2006/relationships/image" Target="../media/image2.emf"/><Relationship Id="rId4" Type="http://schemas.openxmlformats.org/officeDocument/2006/relationships/tags" Target="../tags/tag545.xml"/><Relationship Id="rId9"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1.xml"/><Relationship Id="rId7" Type="http://schemas.openxmlformats.org/officeDocument/2006/relationships/tags" Target="../tags/tag555.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tags" Target="../tags/tag554.xml"/><Relationship Id="rId5" Type="http://schemas.openxmlformats.org/officeDocument/2006/relationships/tags" Target="../tags/tag553.xml"/><Relationship Id="rId10" Type="http://schemas.openxmlformats.org/officeDocument/2006/relationships/image" Target="../media/image2.emf"/><Relationship Id="rId4" Type="http://schemas.openxmlformats.org/officeDocument/2006/relationships/tags" Target="../tags/tag552.xml"/><Relationship Id="rId9"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8.xml"/><Relationship Id="rId7" Type="http://schemas.openxmlformats.org/officeDocument/2006/relationships/tags" Target="../tags/tag562.xml"/><Relationship Id="rId2" Type="http://schemas.openxmlformats.org/officeDocument/2006/relationships/tags" Target="../tags/tag557.xml"/><Relationship Id="rId1" Type="http://schemas.openxmlformats.org/officeDocument/2006/relationships/tags" Target="../tags/tag556.xml"/><Relationship Id="rId6" Type="http://schemas.openxmlformats.org/officeDocument/2006/relationships/tags" Target="../tags/tag561.xml"/><Relationship Id="rId5" Type="http://schemas.openxmlformats.org/officeDocument/2006/relationships/tags" Target="../tags/tag560.xml"/><Relationship Id="rId10" Type="http://schemas.openxmlformats.org/officeDocument/2006/relationships/image" Target="../media/image2.emf"/><Relationship Id="rId4" Type="http://schemas.openxmlformats.org/officeDocument/2006/relationships/tags" Target="../tags/tag559.xml"/><Relationship Id="rId9" Type="http://schemas.openxmlformats.org/officeDocument/2006/relationships/oleObject" Target="../embeddings/oleObject71.bin"/></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570.xml"/><Relationship Id="rId3" Type="http://schemas.openxmlformats.org/officeDocument/2006/relationships/tags" Target="../tags/tag565.xml"/><Relationship Id="rId7" Type="http://schemas.openxmlformats.org/officeDocument/2006/relationships/tags" Target="../tags/tag569.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image" Target="../media/image2.emf"/><Relationship Id="rId5" Type="http://schemas.openxmlformats.org/officeDocument/2006/relationships/tags" Target="../tags/tag567.xml"/><Relationship Id="rId10" Type="http://schemas.openxmlformats.org/officeDocument/2006/relationships/oleObject" Target="../embeddings/oleObject72.bin"/><Relationship Id="rId4" Type="http://schemas.openxmlformats.org/officeDocument/2006/relationships/tags" Target="../tags/tag566.xml"/><Relationship Id="rId9"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578.xml"/><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image" Target="../media/image3.emf"/><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oleObject" Target="../embeddings/oleObject73.bin"/><Relationship Id="rId5" Type="http://schemas.openxmlformats.org/officeDocument/2006/relationships/tags" Target="../tags/tag575.xml"/><Relationship Id="rId10" Type="http://schemas.openxmlformats.org/officeDocument/2006/relationships/slideMaster" Target="../slideMasters/slideMaster5.xml"/><Relationship Id="rId4" Type="http://schemas.openxmlformats.org/officeDocument/2006/relationships/tags" Target="../tags/tag574.xml"/><Relationship Id="rId9" Type="http://schemas.openxmlformats.org/officeDocument/2006/relationships/tags" Target="../tags/tag579.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2.emf"/><Relationship Id="rId5" Type="http://schemas.openxmlformats.org/officeDocument/2006/relationships/tags" Target="../tags/tag71.xml"/><Relationship Id="rId10" Type="http://schemas.openxmlformats.org/officeDocument/2006/relationships/oleObject" Target="../embeddings/oleObject8.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587.xml"/><Relationship Id="rId3" Type="http://schemas.openxmlformats.org/officeDocument/2006/relationships/tags" Target="../tags/tag582.xml"/><Relationship Id="rId7" Type="http://schemas.openxmlformats.org/officeDocument/2006/relationships/tags" Target="../tags/tag586.xml"/><Relationship Id="rId12" Type="http://schemas.openxmlformats.org/officeDocument/2006/relationships/image" Target="../media/image3.emf"/><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5.xml"/><Relationship Id="rId11" Type="http://schemas.openxmlformats.org/officeDocument/2006/relationships/oleObject" Target="../embeddings/oleObject74.bin"/><Relationship Id="rId5" Type="http://schemas.openxmlformats.org/officeDocument/2006/relationships/tags" Target="../tags/tag584.xml"/><Relationship Id="rId10" Type="http://schemas.openxmlformats.org/officeDocument/2006/relationships/slideMaster" Target="../slideMasters/slideMaster5.xml"/><Relationship Id="rId4" Type="http://schemas.openxmlformats.org/officeDocument/2006/relationships/tags" Target="../tags/tag583.xml"/><Relationship Id="rId9" Type="http://schemas.openxmlformats.org/officeDocument/2006/relationships/tags" Target="../tags/tag588.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596.xml"/><Relationship Id="rId3" Type="http://schemas.openxmlformats.org/officeDocument/2006/relationships/tags" Target="../tags/tag591.xml"/><Relationship Id="rId7" Type="http://schemas.openxmlformats.org/officeDocument/2006/relationships/tags" Target="../tags/tag595.xml"/><Relationship Id="rId12" Type="http://schemas.openxmlformats.org/officeDocument/2006/relationships/image" Target="../media/image2.emf"/><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tags" Target="../tags/tag594.xml"/><Relationship Id="rId11" Type="http://schemas.openxmlformats.org/officeDocument/2006/relationships/oleObject" Target="../embeddings/oleObject75.bin"/><Relationship Id="rId5" Type="http://schemas.openxmlformats.org/officeDocument/2006/relationships/tags" Target="../tags/tag593.xml"/><Relationship Id="rId10" Type="http://schemas.openxmlformats.org/officeDocument/2006/relationships/slideMaster" Target="../slideMasters/slideMaster5.xml"/><Relationship Id="rId4" Type="http://schemas.openxmlformats.org/officeDocument/2006/relationships/tags" Target="../tags/tag592.xml"/><Relationship Id="rId9" Type="http://schemas.openxmlformats.org/officeDocument/2006/relationships/tags" Target="../tags/tag597.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605.xml"/><Relationship Id="rId3" Type="http://schemas.openxmlformats.org/officeDocument/2006/relationships/tags" Target="../tags/tag600.xml"/><Relationship Id="rId7" Type="http://schemas.openxmlformats.org/officeDocument/2006/relationships/tags" Target="../tags/tag604.xml"/><Relationship Id="rId12" Type="http://schemas.openxmlformats.org/officeDocument/2006/relationships/image" Target="../media/image2.emf"/><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oleObject" Target="../embeddings/oleObject76.bin"/><Relationship Id="rId5" Type="http://schemas.openxmlformats.org/officeDocument/2006/relationships/tags" Target="../tags/tag602.xml"/><Relationship Id="rId10" Type="http://schemas.openxmlformats.org/officeDocument/2006/relationships/slideMaster" Target="../slideMasters/slideMaster5.xml"/><Relationship Id="rId4" Type="http://schemas.openxmlformats.org/officeDocument/2006/relationships/tags" Target="../tags/tag601.xml"/><Relationship Id="rId9" Type="http://schemas.openxmlformats.org/officeDocument/2006/relationships/tags" Target="../tags/tag606.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614.xml"/><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3.emf"/><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oleObject" Target="../embeddings/oleObject77.bin"/><Relationship Id="rId5" Type="http://schemas.openxmlformats.org/officeDocument/2006/relationships/tags" Target="../tags/tag611.xml"/><Relationship Id="rId10" Type="http://schemas.openxmlformats.org/officeDocument/2006/relationships/slideMaster" Target="../slideMasters/slideMaster5.xml"/><Relationship Id="rId4" Type="http://schemas.openxmlformats.org/officeDocument/2006/relationships/tags" Target="../tags/tag610.xml"/><Relationship Id="rId9" Type="http://schemas.openxmlformats.org/officeDocument/2006/relationships/tags" Target="../tags/tag615.xml"/></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18.xml"/><Relationship Id="rId7" Type="http://schemas.openxmlformats.org/officeDocument/2006/relationships/tags" Target="../tags/tag622.xml"/><Relationship Id="rId2" Type="http://schemas.openxmlformats.org/officeDocument/2006/relationships/tags" Target="../tags/tag617.xml"/><Relationship Id="rId1" Type="http://schemas.openxmlformats.org/officeDocument/2006/relationships/tags" Target="../tags/tag616.xml"/><Relationship Id="rId6" Type="http://schemas.openxmlformats.org/officeDocument/2006/relationships/tags" Target="../tags/tag621.xml"/><Relationship Id="rId5" Type="http://schemas.openxmlformats.org/officeDocument/2006/relationships/tags" Target="../tags/tag620.xml"/><Relationship Id="rId10" Type="http://schemas.openxmlformats.org/officeDocument/2006/relationships/image" Target="../media/image1.emf"/><Relationship Id="rId4" Type="http://schemas.openxmlformats.org/officeDocument/2006/relationships/tags" Target="../tags/tag619.xml"/><Relationship Id="rId9" Type="http://schemas.openxmlformats.org/officeDocument/2006/relationships/oleObject" Target="../embeddings/oleObject78.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25.xml"/><Relationship Id="rId7" Type="http://schemas.openxmlformats.org/officeDocument/2006/relationships/oleObject" Target="../embeddings/oleObject79.bin"/><Relationship Id="rId2" Type="http://schemas.openxmlformats.org/officeDocument/2006/relationships/tags" Target="../tags/tag624.xml"/><Relationship Id="rId1" Type="http://schemas.openxmlformats.org/officeDocument/2006/relationships/tags" Target="../tags/tag623.xml"/><Relationship Id="rId6" Type="http://schemas.openxmlformats.org/officeDocument/2006/relationships/slideMaster" Target="../slideMasters/slideMaster5.xml"/><Relationship Id="rId5" Type="http://schemas.openxmlformats.org/officeDocument/2006/relationships/tags" Target="../tags/tag627.xml"/><Relationship Id="rId4" Type="http://schemas.openxmlformats.org/officeDocument/2006/relationships/tags" Target="../tags/tag626.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630.xml"/><Relationship Id="rId2" Type="http://schemas.openxmlformats.org/officeDocument/2006/relationships/tags" Target="../tags/tag629.xml"/><Relationship Id="rId1" Type="http://schemas.openxmlformats.org/officeDocument/2006/relationships/tags" Target="../tags/tag628.x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54.xml"/><Relationship Id="rId7" Type="http://schemas.openxmlformats.org/officeDocument/2006/relationships/tags" Target="../tags/tag658.xml"/><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tags" Target="../tags/tag657.xml"/><Relationship Id="rId5" Type="http://schemas.openxmlformats.org/officeDocument/2006/relationships/tags" Target="../tags/tag656.xml"/><Relationship Id="rId10" Type="http://schemas.openxmlformats.org/officeDocument/2006/relationships/image" Target="../media/image2.emf"/><Relationship Id="rId4" Type="http://schemas.openxmlformats.org/officeDocument/2006/relationships/tags" Target="../tags/tag655.xml"/><Relationship Id="rId9" Type="http://schemas.openxmlformats.org/officeDocument/2006/relationships/oleObject" Target="../embeddings/oleObject82.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3.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oleObject" Target="../embeddings/oleObject9.bin"/><Relationship Id="rId5" Type="http://schemas.openxmlformats.org/officeDocument/2006/relationships/tags" Target="../tags/tag79.xml"/><Relationship Id="rId10" Type="http://schemas.openxmlformats.org/officeDocument/2006/relationships/slideMaster" Target="../slideMasters/slideMaster1.xml"/><Relationship Id="rId4" Type="http://schemas.openxmlformats.org/officeDocument/2006/relationships/tags" Target="../tags/tag78.xml"/><Relationship Id="rId9" Type="http://schemas.openxmlformats.org/officeDocument/2006/relationships/tags" Target="../tags/tag83.xml"/></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61.xml"/><Relationship Id="rId7" Type="http://schemas.openxmlformats.org/officeDocument/2006/relationships/tags" Target="../tags/tag665.xml"/><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tags" Target="../tags/tag664.xml"/><Relationship Id="rId5" Type="http://schemas.openxmlformats.org/officeDocument/2006/relationships/tags" Target="../tags/tag663.xml"/><Relationship Id="rId10" Type="http://schemas.openxmlformats.org/officeDocument/2006/relationships/image" Target="../media/image1.emf"/><Relationship Id="rId4" Type="http://schemas.openxmlformats.org/officeDocument/2006/relationships/tags" Target="../tags/tag662.xml"/><Relationship Id="rId9" Type="http://schemas.openxmlformats.org/officeDocument/2006/relationships/oleObject" Target="../embeddings/oleObject83.bin"/></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668.xml"/><Relationship Id="rId7" Type="http://schemas.openxmlformats.org/officeDocument/2006/relationships/slideMaster" Target="../slideMasters/slideMaster6.xml"/><Relationship Id="rId2" Type="http://schemas.openxmlformats.org/officeDocument/2006/relationships/tags" Target="../tags/tag667.xml"/><Relationship Id="rId1" Type="http://schemas.openxmlformats.org/officeDocument/2006/relationships/tags" Target="../tags/tag666.xml"/><Relationship Id="rId6" Type="http://schemas.openxmlformats.org/officeDocument/2006/relationships/tags" Target="../tags/tag671.xml"/><Relationship Id="rId5" Type="http://schemas.openxmlformats.org/officeDocument/2006/relationships/tags" Target="../tags/tag670.xml"/><Relationship Id="rId4" Type="http://schemas.openxmlformats.org/officeDocument/2006/relationships/tags" Target="../tags/tag669.xml"/><Relationship Id="rId9"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74.xml"/><Relationship Id="rId7" Type="http://schemas.openxmlformats.org/officeDocument/2006/relationships/tags" Target="../tags/tag678.xml"/><Relationship Id="rId2" Type="http://schemas.openxmlformats.org/officeDocument/2006/relationships/tags" Target="../tags/tag673.xml"/><Relationship Id="rId1" Type="http://schemas.openxmlformats.org/officeDocument/2006/relationships/tags" Target="../tags/tag672.xml"/><Relationship Id="rId6" Type="http://schemas.openxmlformats.org/officeDocument/2006/relationships/tags" Target="../tags/tag677.xml"/><Relationship Id="rId5" Type="http://schemas.openxmlformats.org/officeDocument/2006/relationships/tags" Target="../tags/tag676.xml"/><Relationship Id="rId10" Type="http://schemas.openxmlformats.org/officeDocument/2006/relationships/image" Target="../media/image2.emf"/><Relationship Id="rId4" Type="http://schemas.openxmlformats.org/officeDocument/2006/relationships/tags" Target="../tags/tag675.xml"/><Relationship Id="rId9" Type="http://schemas.openxmlformats.org/officeDocument/2006/relationships/oleObject" Target="../embeddings/oleObject85.bin"/></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681.xml"/><Relationship Id="rId7" Type="http://schemas.openxmlformats.org/officeDocument/2006/relationships/slideMaster" Target="../slideMasters/slideMaster6.xml"/><Relationship Id="rId2" Type="http://schemas.openxmlformats.org/officeDocument/2006/relationships/tags" Target="../tags/tag680.xml"/><Relationship Id="rId1" Type="http://schemas.openxmlformats.org/officeDocument/2006/relationships/tags" Target="../tags/tag679.xml"/><Relationship Id="rId6" Type="http://schemas.openxmlformats.org/officeDocument/2006/relationships/tags" Target="../tags/tag684.xml"/><Relationship Id="rId5" Type="http://schemas.openxmlformats.org/officeDocument/2006/relationships/tags" Target="../tags/tag683.xml"/><Relationship Id="rId4" Type="http://schemas.openxmlformats.org/officeDocument/2006/relationships/tags" Target="../tags/tag682.xml"/><Relationship Id="rId9"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87.xml"/><Relationship Id="rId7" Type="http://schemas.openxmlformats.org/officeDocument/2006/relationships/tags" Target="../tags/tag691.xml"/><Relationship Id="rId2" Type="http://schemas.openxmlformats.org/officeDocument/2006/relationships/tags" Target="../tags/tag686.xml"/><Relationship Id="rId1" Type="http://schemas.openxmlformats.org/officeDocument/2006/relationships/tags" Target="../tags/tag685.xml"/><Relationship Id="rId6" Type="http://schemas.openxmlformats.org/officeDocument/2006/relationships/tags" Target="../tags/tag690.xml"/><Relationship Id="rId5" Type="http://schemas.openxmlformats.org/officeDocument/2006/relationships/tags" Target="../tags/tag689.xml"/><Relationship Id="rId10" Type="http://schemas.openxmlformats.org/officeDocument/2006/relationships/image" Target="../media/image2.emf"/><Relationship Id="rId4" Type="http://schemas.openxmlformats.org/officeDocument/2006/relationships/tags" Target="../tags/tag688.xml"/><Relationship Id="rId9" Type="http://schemas.openxmlformats.org/officeDocument/2006/relationships/oleObject" Target="../embeddings/oleObject87.bin"/></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699.xml"/><Relationship Id="rId3" Type="http://schemas.openxmlformats.org/officeDocument/2006/relationships/tags" Target="../tags/tag694.xml"/><Relationship Id="rId7" Type="http://schemas.openxmlformats.org/officeDocument/2006/relationships/tags" Target="../tags/tag698.xml"/><Relationship Id="rId2" Type="http://schemas.openxmlformats.org/officeDocument/2006/relationships/tags" Target="../tags/tag693.xml"/><Relationship Id="rId1" Type="http://schemas.openxmlformats.org/officeDocument/2006/relationships/tags" Target="../tags/tag692.xml"/><Relationship Id="rId6" Type="http://schemas.openxmlformats.org/officeDocument/2006/relationships/tags" Target="../tags/tag697.xml"/><Relationship Id="rId11" Type="http://schemas.openxmlformats.org/officeDocument/2006/relationships/image" Target="../media/image3.emf"/><Relationship Id="rId5" Type="http://schemas.openxmlformats.org/officeDocument/2006/relationships/tags" Target="../tags/tag696.xml"/><Relationship Id="rId10" Type="http://schemas.openxmlformats.org/officeDocument/2006/relationships/oleObject" Target="../embeddings/oleObject88.bin"/><Relationship Id="rId4" Type="http://schemas.openxmlformats.org/officeDocument/2006/relationships/tags" Target="../tags/tag695.xml"/><Relationship Id="rId9"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707.xml"/><Relationship Id="rId3" Type="http://schemas.openxmlformats.org/officeDocument/2006/relationships/tags" Target="../tags/tag702.xml"/><Relationship Id="rId7" Type="http://schemas.openxmlformats.org/officeDocument/2006/relationships/tags" Target="../tags/tag706.xml"/><Relationship Id="rId2" Type="http://schemas.openxmlformats.org/officeDocument/2006/relationships/tags" Target="../tags/tag701.xml"/><Relationship Id="rId1" Type="http://schemas.openxmlformats.org/officeDocument/2006/relationships/tags" Target="../tags/tag700.xml"/><Relationship Id="rId6" Type="http://schemas.openxmlformats.org/officeDocument/2006/relationships/tags" Target="../tags/tag705.xml"/><Relationship Id="rId11" Type="http://schemas.openxmlformats.org/officeDocument/2006/relationships/image" Target="../media/image3.emf"/><Relationship Id="rId5" Type="http://schemas.openxmlformats.org/officeDocument/2006/relationships/tags" Target="../tags/tag704.xml"/><Relationship Id="rId10" Type="http://schemas.openxmlformats.org/officeDocument/2006/relationships/oleObject" Target="../embeddings/oleObject89.bin"/><Relationship Id="rId4" Type="http://schemas.openxmlformats.org/officeDocument/2006/relationships/tags" Target="../tags/tag703.xml"/><Relationship Id="rId9"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715.xml"/><Relationship Id="rId3" Type="http://schemas.openxmlformats.org/officeDocument/2006/relationships/tags" Target="../tags/tag710.xml"/><Relationship Id="rId7" Type="http://schemas.openxmlformats.org/officeDocument/2006/relationships/tags" Target="../tags/tag714.xml"/><Relationship Id="rId2" Type="http://schemas.openxmlformats.org/officeDocument/2006/relationships/tags" Target="../tags/tag709.xml"/><Relationship Id="rId1" Type="http://schemas.openxmlformats.org/officeDocument/2006/relationships/tags" Target="../tags/tag708.xml"/><Relationship Id="rId6" Type="http://schemas.openxmlformats.org/officeDocument/2006/relationships/tags" Target="../tags/tag713.xml"/><Relationship Id="rId11" Type="http://schemas.openxmlformats.org/officeDocument/2006/relationships/image" Target="../media/image2.emf"/><Relationship Id="rId5" Type="http://schemas.openxmlformats.org/officeDocument/2006/relationships/tags" Target="../tags/tag712.xml"/><Relationship Id="rId10" Type="http://schemas.openxmlformats.org/officeDocument/2006/relationships/oleObject" Target="../embeddings/oleObject90.bin"/><Relationship Id="rId4" Type="http://schemas.openxmlformats.org/officeDocument/2006/relationships/tags" Target="../tags/tag711.xml"/><Relationship Id="rId9"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723.xml"/><Relationship Id="rId3" Type="http://schemas.openxmlformats.org/officeDocument/2006/relationships/tags" Target="../tags/tag718.xml"/><Relationship Id="rId7" Type="http://schemas.openxmlformats.org/officeDocument/2006/relationships/tags" Target="../tags/tag722.xml"/><Relationship Id="rId2" Type="http://schemas.openxmlformats.org/officeDocument/2006/relationships/tags" Target="../tags/tag717.xml"/><Relationship Id="rId1" Type="http://schemas.openxmlformats.org/officeDocument/2006/relationships/tags" Target="../tags/tag716.xml"/><Relationship Id="rId6" Type="http://schemas.openxmlformats.org/officeDocument/2006/relationships/tags" Target="../tags/tag721.xml"/><Relationship Id="rId11" Type="http://schemas.openxmlformats.org/officeDocument/2006/relationships/image" Target="../media/image2.emf"/><Relationship Id="rId5" Type="http://schemas.openxmlformats.org/officeDocument/2006/relationships/tags" Target="../tags/tag720.xml"/><Relationship Id="rId10" Type="http://schemas.openxmlformats.org/officeDocument/2006/relationships/oleObject" Target="../embeddings/oleObject91.bin"/><Relationship Id="rId4" Type="http://schemas.openxmlformats.org/officeDocument/2006/relationships/tags" Target="../tags/tag719.xml"/><Relationship Id="rId9"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731.xml"/><Relationship Id="rId3" Type="http://schemas.openxmlformats.org/officeDocument/2006/relationships/tags" Target="../tags/tag726.xml"/><Relationship Id="rId7" Type="http://schemas.openxmlformats.org/officeDocument/2006/relationships/tags" Target="../tags/tag730.xml"/><Relationship Id="rId2" Type="http://schemas.openxmlformats.org/officeDocument/2006/relationships/tags" Target="../tags/tag725.xml"/><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image" Target="../media/image3.emf"/><Relationship Id="rId5" Type="http://schemas.openxmlformats.org/officeDocument/2006/relationships/tags" Target="../tags/tag728.xml"/><Relationship Id="rId10" Type="http://schemas.openxmlformats.org/officeDocument/2006/relationships/oleObject" Target="../embeddings/oleObject92.bin"/><Relationship Id="rId4" Type="http://schemas.openxmlformats.org/officeDocument/2006/relationships/tags" Target="../tags/tag727.xml"/><Relationship Id="rId9"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3.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oleObject" Target="../embeddings/oleObject10.bin"/><Relationship Id="rId5" Type="http://schemas.openxmlformats.org/officeDocument/2006/relationships/tags" Target="../tags/tag88.xml"/><Relationship Id="rId10" Type="http://schemas.openxmlformats.org/officeDocument/2006/relationships/slideMaster" Target="../slideMasters/slideMaster1.xml"/><Relationship Id="rId4" Type="http://schemas.openxmlformats.org/officeDocument/2006/relationships/tags" Target="../tags/tag87.xml"/><Relationship Id="rId9" Type="http://schemas.openxmlformats.org/officeDocument/2006/relationships/tags" Target="../tags/tag92.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734.xml"/><Relationship Id="rId7" Type="http://schemas.openxmlformats.org/officeDocument/2006/relationships/slideMaster" Target="../slideMasters/slideMaster6.xml"/><Relationship Id="rId2" Type="http://schemas.openxmlformats.org/officeDocument/2006/relationships/tags" Target="../tags/tag733.xml"/><Relationship Id="rId1" Type="http://schemas.openxmlformats.org/officeDocument/2006/relationships/tags" Target="../tags/tag732.xml"/><Relationship Id="rId6" Type="http://schemas.openxmlformats.org/officeDocument/2006/relationships/tags" Target="../tags/tag737.xml"/><Relationship Id="rId5" Type="http://schemas.openxmlformats.org/officeDocument/2006/relationships/tags" Target="../tags/tag736.xml"/><Relationship Id="rId4" Type="http://schemas.openxmlformats.org/officeDocument/2006/relationships/tags" Target="../tags/tag735.xml"/><Relationship Id="rId9"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740.xml"/><Relationship Id="rId7" Type="http://schemas.openxmlformats.org/officeDocument/2006/relationships/image" Target="../media/image2.emf"/><Relationship Id="rId2" Type="http://schemas.openxmlformats.org/officeDocument/2006/relationships/tags" Target="../tags/tag739.xml"/><Relationship Id="rId1" Type="http://schemas.openxmlformats.org/officeDocument/2006/relationships/tags" Target="../tags/tag738.xml"/><Relationship Id="rId6" Type="http://schemas.openxmlformats.org/officeDocument/2006/relationships/oleObject" Target="../embeddings/oleObject94.bin"/><Relationship Id="rId5" Type="http://schemas.openxmlformats.org/officeDocument/2006/relationships/slideMaster" Target="../slideMasters/slideMaster6.xml"/><Relationship Id="rId4" Type="http://schemas.openxmlformats.org/officeDocument/2006/relationships/tags" Target="../tags/tag741.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744.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69.xml"/><Relationship Id="rId7" Type="http://schemas.openxmlformats.org/officeDocument/2006/relationships/tags" Target="../tags/tag773.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tags" Target="../tags/tag772.xml"/><Relationship Id="rId5" Type="http://schemas.openxmlformats.org/officeDocument/2006/relationships/tags" Target="../tags/tag771.xml"/><Relationship Id="rId10" Type="http://schemas.openxmlformats.org/officeDocument/2006/relationships/image" Target="../media/image2.emf"/><Relationship Id="rId4" Type="http://schemas.openxmlformats.org/officeDocument/2006/relationships/tags" Target="../tags/tag770.xml"/><Relationship Id="rId9" Type="http://schemas.openxmlformats.org/officeDocument/2006/relationships/oleObject" Target="../embeddings/oleObject97.bin"/></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76.xml"/><Relationship Id="rId7" Type="http://schemas.openxmlformats.org/officeDocument/2006/relationships/tags" Target="../tags/tag780.xml"/><Relationship Id="rId2" Type="http://schemas.openxmlformats.org/officeDocument/2006/relationships/tags" Target="../tags/tag775.xml"/><Relationship Id="rId1" Type="http://schemas.openxmlformats.org/officeDocument/2006/relationships/tags" Target="../tags/tag774.xml"/><Relationship Id="rId6" Type="http://schemas.openxmlformats.org/officeDocument/2006/relationships/tags" Target="../tags/tag779.xml"/><Relationship Id="rId5" Type="http://schemas.openxmlformats.org/officeDocument/2006/relationships/tags" Target="../tags/tag778.xml"/><Relationship Id="rId10" Type="http://schemas.openxmlformats.org/officeDocument/2006/relationships/image" Target="../media/image2.emf"/><Relationship Id="rId4" Type="http://schemas.openxmlformats.org/officeDocument/2006/relationships/tags" Target="../tags/tag777.xml"/><Relationship Id="rId9" Type="http://schemas.openxmlformats.org/officeDocument/2006/relationships/oleObject" Target="../embeddings/oleObject98.bin"/></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88.xml"/><Relationship Id="rId3" Type="http://schemas.openxmlformats.org/officeDocument/2006/relationships/tags" Target="../tags/tag783.xml"/><Relationship Id="rId7" Type="http://schemas.openxmlformats.org/officeDocument/2006/relationships/tags" Target="../tags/tag787.xml"/><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image" Target="../media/image1.emf"/><Relationship Id="rId5" Type="http://schemas.openxmlformats.org/officeDocument/2006/relationships/tags" Target="../tags/tag785.xml"/><Relationship Id="rId10" Type="http://schemas.openxmlformats.org/officeDocument/2006/relationships/oleObject" Target="../embeddings/oleObject99.bin"/><Relationship Id="rId4" Type="http://schemas.openxmlformats.org/officeDocument/2006/relationships/tags" Target="../tags/tag784.xml"/><Relationship Id="rId9"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91.xml"/><Relationship Id="rId7" Type="http://schemas.openxmlformats.org/officeDocument/2006/relationships/tags" Target="../tags/tag795.xml"/><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tags" Target="../tags/tag794.xml"/><Relationship Id="rId5" Type="http://schemas.openxmlformats.org/officeDocument/2006/relationships/tags" Target="../tags/tag793.xml"/><Relationship Id="rId10" Type="http://schemas.openxmlformats.org/officeDocument/2006/relationships/image" Target="../media/image2.emf"/><Relationship Id="rId4" Type="http://schemas.openxmlformats.org/officeDocument/2006/relationships/tags" Target="../tags/tag792.xml"/><Relationship Id="rId9" Type="http://schemas.openxmlformats.org/officeDocument/2006/relationships/oleObject" Target="../embeddings/oleObject100.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98.xml"/><Relationship Id="rId7" Type="http://schemas.openxmlformats.org/officeDocument/2006/relationships/tags" Target="../tags/tag802.xml"/><Relationship Id="rId2" Type="http://schemas.openxmlformats.org/officeDocument/2006/relationships/tags" Target="../tags/tag797.xml"/><Relationship Id="rId1" Type="http://schemas.openxmlformats.org/officeDocument/2006/relationships/tags" Target="../tags/tag796.xml"/><Relationship Id="rId6" Type="http://schemas.openxmlformats.org/officeDocument/2006/relationships/tags" Target="../tags/tag801.xml"/><Relationship Id="rId5" Type="http://schemas.openxmlformats.org/officeDocument/2006/relationships/tags" Target="../tags/tag800.xml"/><Relationship Id="rId10" Type="http://schemas.openxmlformats.org/officeDocument/2006/relationships/image" Target="../media/image2.emf"/><Relationship Id="rId4" Type="http://schemas.openxmlformats.org/officeDocument/2006/relationships/tags" Target="../tags/tag799.xml"/><Relationship Id="rId9" Type="http://schemas.openxmlformats.org/officeDocument/2006/relationships/oleObject" Target="../embeddings/oleObject101.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05.xml"/><Relationship Id="rId7" Type="http://schemas.openxmlformats.org/officeDocument/2006/relationships/tags" Target="../tags/tag809.xml"/><Relationship Id="rId2" Type="http://schemas.openxmlformats.org/officeDocument/2006/relationships/tags" Target="../tags/tag804.xml"/><Relationship Id="rId1" Type="http://schemas.openxmlformats.org/officeDocument/2006/relationships/tags" Target="../tags/tag803.xml"/><Relationship Id="rId6" Type="http://schemas.openxmlformats.org/officeDocument/2006/relationships/tags" Target="../tags/tag808.xml"/><Relationship Id="rId5" Type="http://schemas.openxmlformats.org/officeDocument/2006/relationships/tags" Target="../tags/tag807.xml"/><Relationship Id="rId10" Type="http://schemas.openxmlformats.org/officeDocument/2006/relationships/image" Target="../media/image2.emf"/><Relationship Id="rId4" Type="http://schemas.openxmlformats.org/officeDocument/2006/relationships/tags" Target="../tags/tag806.xml"/><Relationship Id="rId9" Type="http://schemas.openxmlformats.org/officeDocument/2006/relationships/oleObject" Target="../embeddings/oleObject102.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817.xml"/><Relationship Id="rId3" Type="http://schemas.openxmlformats.org/officeDocument/2006/relationships/tags" Target="../tags/tag812.xml"/><Relationship Id="rId7" Type="http://schemas.openxmlformats.org/officeDocument/2006/relationships/tags" Target="../tags/tag816.xml"/><Relationship Id="rId2" Type="http://schemas.openxmlformats.org/officeDocument/2006/relationships/tags" Target="../tags/tag811.xml"/><Relationship Id="rId1" Type="http://schemas.openxmlformats.org/officeDocument/2006/relationships/tags" Target="../tags/tag810.xml"/><Relationship Id="rId6" Type="http://schemas.openxmlformats.org/officeDocument/2006/relationships/tags" Target="../tags/tag815.xml"/><Relationship Id="rId11" Type="http://schemas.openxmlformats.org/officeDocument/2006/relationships/image" Target="../media/image2.emf"/><Relationship Id="rId5" Type="http://schemas.openxmlformats.org/officeDocument/2006/relationships/tags" Target="../tags/tag814.xml"/><Relationship Id="rId10" Type="http://schemas.openxmlformats.org/officeDocument/2006/relationships/oleObject" Target="../embeddings/oleObject103.bin"/><Relationship Id="rId4" Type="http://schemas.openxmlformats.org/officeDocument/2006/relationships/tags" Target="../tags/tag813.xml"/><Relationship Id="rId9"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33783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561033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6054678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35390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597230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291225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275930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117529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874894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4255211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3165676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152655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5432921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204305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8123640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53912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312103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75231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TextBox 5">
            <a:extLst>
              <a:ext uri="{FF2B5EF4-FFF2-40B4-BE49-F238E27FC236}">
                <a16:creationId xmlns:a16="http://schemas.microsoft.com/office/drawing/2014/main" id="{8753461C-E4EB-442D-A46F-2F705F1BA240}"/>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2296027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06776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67384664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218795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334945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16046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152807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619370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19141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TextBox 5">
            <a:extLst>
              <a:ext uri="{FF2B5EF4-FFF2-40B4-BE49-F238E27FC236}">
                <a16:creationId xmlns:a16="http://schemas.microsoft.com/office/drawing/2014/main" id="{8753461C-E4EB-442D-A46F-2F705F1BA240}"/>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05CB31-DE56-407A-B80B-C3FB1369F415}"/>
              </a:ext>
            </a:extLst>
          </p:cNvPr>
          <p:cNvGraphicFramePr>
            <a:graphicFrameLocks noChangeAspect="1"/>
          </p:cNvGraphicFramePr>
          <p:nvPr userDrawn="1">
            <p:custDataLst>
              <p:tags r:id="rId1"/>
            </p:custDataLst>
            <p:extLst>
              <p:ext uri="{D42A27DB-BD31-4B8C-83A1-F6EECF244321}">
                <p14:modId xmlns:p14="http://schemas.microsoft.com/office/powerpoint/2010/main" val="17164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05CB31-DE56-407A-B80B-C3FB1369F41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F37B43-A902-4A76-B6A5-B88040B82C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Title">
            <a:extLst>
              <a:ext uri="{FF2B5EF4-FFF2-40B4-BE49-F238E27FC236}">
                <a16:creationId xmlns:a16="http://schemas.microsoft.com/office/drawing/2014/main" id="{CDF07847-4290-4F49-9A71-8F731BFC8606}"/>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dirty="0"/>
              <a:t>Click to edit Master title style</a:t>
            </a:r>
          </a:p>
        </p:txBody>
      </p:sp>
      <p:sp>
        <p:nvSpPr>
          <p:cNvPr id="7" name="Documenttype">
            <a:extLst>
              <a:ext uri="{FF2B5EF4-FFF2-40B4-BE49-F238E27FC236}">
                <a16:creationId xmlns:a16="http://schemas.microsoft.com/office/drawing/2014/main" id="{2E4CA36C-69A4-4C19-931C-B703D3A9AA3D}"/>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8" name="Subtitle">
            <a:extLst>
              <a:ext uri="{FF2B5EF4-FFF2-40B4-BE49-F238E27FC236}">
                <a16:creationId xmlns:a16="http://schemas.microsoft.com/office/drawing/2014/main" id="{B730FB75-D162-44C9-98A9-461AB5E1A164}"/>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dirty="0"/>
              <a:t>Click to edit Master subtitle style</a:t>
            </a:r>
          </a:p>
        </p:txBody>
      </p:sp>
      <p:sp>
        <p:nvSpPr>
          <p:cNvPr id="9" name="Documenttype">
            <a:extLst>
              <a:ext uri="{FF2B5EF4-FFF2-40B4-BE49-F238E27FC236}">
                <a16:creationId xmlns:a16="http://schemas.microsoft.com/office/drawing/2014/main" id="{471B611B-1A34-40DA-858C-A17382E7B04E}"/>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0" name="Documenttype">
            <a:extLst>
              <a:ext uri="{FF2B5EF4-FFF2-40B4-BE49-F238E27FC236}">
                <a16:creationId xmlns:a16="http://schemas.microsoft.com/office/drawing/2014/main" id="{049EDC94-1679-445E-8477-33C1D42EA00E}"/>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FAC02B7-F3A7-43E5-BA0D-B93E4F705BDA}"/>
              </a:ext>
            </a:extLst>
          </p:cNvPr>
          <p:cNvGraphicFramePr>
            <a:graphicFrameLocks noChangeAspect="1"/>
          </p:cNvGraphicFramePr>
          <p:nvPr userDrawn="1">
            <p:custDataLst>
              <p:tags r:id="rId1"/>
            </p:custDataLst>
            <p:extLst>
              <p:ext uri="{D42A27DB-BD31-4B8C-83A1-F6EECF244321}">
                <p14:modId xmlns:p14="http://schemas.microsoft.com/office/powerpoint/2010/main" val="293536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2" name="Object 2" hidden="1">
                        <a:extLst>
                          <a:ext uri="{FF2B5EF4-FFF2-40B4-BE49-F238E27FC236}">
                            <a16:creationId xmlns:a16="http://schemas.microsoft.com/office/drawing/2014/main" id="{3FAC02B7-F3A7-43E5-BA0D-B93E4F705B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1B68EE87-A0DD-496A-B10C-EF1715597DFA}"/>
              </a:ext>
            </a:extLst>
          </p:cNvPr>
          <p:cNvSpPr>
            <a:spLocks noGrp="1"/>
          </p:cNvSpPr>
          <p:nvPr>
            <p:ph type="title"/>
            <p:custDataLst>
              <p:tags r:id="rId2"/>
            </p:custDataLst>
          </p:nvPr>
        </p:nvSpPr>
        <p:spPr>
          <a:xfrm>
            <a:off x="416052" y="173736"/>
            <a:ext cx="8311896" cy="338554"/>
          </a:xfrm>
        </p:spPr>
        <p:txBody>
          <a:bodyPr vert="horz" wrap="square" lIns="0" tIns="0" rIns="0" bIns="0" rtlCol="0" anchor="t" anchorCtr="0">
            <a:spAutoFit/>
          </a:bodyPr>
          <a:lstStyle>
            <a:lvl1pPr>
              <a:defRPr lang="en-US" dirty="0"/>
            </a:lvl1pPr>
          </a:lstStyle>
          <a:p>
            <a:pPr lvl="0"/>
            <a:endParaRPr lang="en-US" dirty="0"/>
          </a:p>
        </p:txBody>
      </p:sp>
      <p:sp>
        <p:nvSpPr>
          <p:cNvPr id="11" name="3. Subtitle">
            <a:extLst>
              <a:ext uri="{FF2B5EF4-FFF2-40B4-BE49-F238E27FC236}">
                <a16:creationId xmlns:a16="http://schemas.microsoft.com/office/drawing/2014/main" id="{9058D7A1-E2D0-422A-B35F-8D916C606E0F}"/>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74896738-E4EE-4DCC-84BD-BB0E08A2B4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FB1680F4-369F-4981-8CAE-002836A16EB7}"/>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D67FF705-F1CE-4ABC-A914-F9AC412C19E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EFC1666-67C8-4619-A502-4C9EABE7251E}"/>
              </a:ext>
            </a:extLst>
          </p:cNvPr>
          <p:cNvGraphicFramePr>
            <a:graphicFrameLocks noChangeAspect="1"/>
          </p:cNvGraphicFramePr>
          <p:nvPr userDrawn="1">
            <p:custDataLst>
              <p:tags r:id="rId1"/>
            </p:custDataLst>
            <p:extLst>
              <p:ext uri="{D42A27DB-BD31-4B8C-83A1-F6EECF244321}">
                <p14:modId xmlns:p14="http://schemas.microsoft.com/office/powerpoint/2010/main" val="3535191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EFC1666-67C8-4619-A502-4C9EABE725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181D8877-9D16-468C-8A9C-9AF2AF95B7A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Slide Number">
            <a:extLst>
              <a:ext uri="{FF2B5EF4-FFF2-40B4-BE49-F238E27FC236}">
                <a16:creationId xmlns:a16="http://schemas.microsoft.com/office/drawing/2014/main" id="{D9158D3F-8458-4670-99AD-89F5B9E6157E}"/>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7E354FC4-29D1-43C5-B30D-212C6D407B3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1472ABA9-73A7-4321-9BA4-B0A05F926A3B}"/>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4EFC8312-321C-479B-BE15-0CD5212DEAED}"/>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dirty="0"/>
              <a:t>Click to edit Master title style</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BDF039-8FE5-43FC-8CA5-4A0ECC5294D7}"/>
              </a:ext>
            </a:extLst>
          </p:cNvPr>
          <p:cNvGraphicFramePr>
            <a:graphicFrameLocks noChangeAspect="1"/>
          </p:cNvGraphicFramePr>
          <p:nvPr userDrawn="1">
            <p:custDataLst>
              <p:tags r:id="rId1"/>
            </p:custDataLst>
            <p:extLst>
              <p:ext uri="{D42A27DB-BD31-4B8C-83A1-F6EECF244321}">
                <p14:modId xmlns:p14="http://schemas.microsoft.com/office/powerpoint/2010/main" val="2732008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71BDF039-8FE5-43FC-8CA5-4A0ECC5294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4BEDAF5B-C388-43C9-8126-AACE1FFD942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E3FAB087-0C8E-42E4-AAD6-429CA1E2785F}"/>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EF71AA55-AF82-45C2-8B75-DF470F9CFD4B}"/>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6066AB4D-AC40-49A2-B3AC-3478F2486DE1}"/>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8DE9464D-8BC5-4E72-841F-6E4DE75935BC}"/>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dirty="0"/>
              <a:t>Click to edit Master title style</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388242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9952346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92AD44-1068-4407-82DC-DD4442ED5355}"/>
              </a:ext>
            </a:extLst>
          </p:cNvPr>
          <p:cNvGraphicFramePr>
            <a:graphicFrameLocks noChangeAspect="1"/>
          </p:cNvGraphicFramePr>
          <p:nvPr userDrawn="1">
            <p:custDataLst>
              <p:tags r:id="rId1"/>
            </p:custDataLst>
            <p:extLst>
              <p:ext uri="{D42A27DB-BD31-4B8C-83A1-F6EECF244321}">
                <p14:modId xmlns:p14="http://schemas.microsoft.com/office/powerpoint/2010/main" val="72874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6C92AD44-1068-4407-82DC-DD4442ED53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60A37EB2-B222-4484-9B37-B0E9C3B53CB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44FA9C5C-3D02-4606-ACC6-45B274125E1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50A4CE5E-EA69-462D-9378-162A6B31401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58B798B6-D717-47E0-B368-C3CA28559FB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05B2E962-4491-428B-87A4-18F9FA41F83C}"/>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3B92AD-52C0-4565-A853-E755058C5D4D}"/>
              </a:ext>
            </a:extLst>
          </p:cNvPr>
          <p:cNvGraphicFramePr>
            <a:graphicFrameLocks noChangeAspect="1"/>
          </p:cNvGraphicFramePr>
          <p:nvPr userDrawn="1">
            <p:custDataLst>
              <p:tags r:id="rId1"/>
            </p:custDataLst>
            <p:extLst>
              <p:ext uri="{D42A27DB-BD31-4B8C-83A1-F6EECF244321}">
                <p14:modId xmlns:p14="http://schemas.microsoft.com/office/powerpoint/2010/main" val="2433790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A73B92AD-52C0-4565-A853-E755058C5D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C0DB32B1-6462-418E-A91E-73704A18963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EE1D4303-4599-4610-BC17-19AA3BD4D3B9}"/>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CD0FB57B-4505-4ECE-8CC1-292C1CC5262A}"/>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B17DDF26-3EA4-4096-ABDB-61F6A722737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380D58AB-4F08-4944-8771-719D0FE78FD8}"/>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dirty="0"/>
              <a:t>Click to edit Master title style</a:t>
            </a:r>
          </a:p>
        </p:txBody>
      </p:sp>
      <p:sp>
        <p:nvSpPr>
          <p:cNvPr id="14" name="3. Subtitle">
            <a:extLst>
              <a:ext uri="{FF2B5EF4-FFF2-40B4-BE49-F238E27FC236}">
                <a16:creationId xmlns:a16="http://schemas.microsoft.com/office/drawing/2014/main" id="{46190879-86E2-45D0-A286-E851B958D8F9}"/>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5BA7DA3C-445E-4932-9B65-4D6A0D20A4C2}"/>
              </a:ext>
            </a:extLst>
          </p:cNvPr>
          <p:cNvGraphicFramePr>
            <a:graphicFrameLocks noChangeAspect="1"/>
          </p:cNvGraphicFramePr>
          <p:nvPr userDrawn="1">
            <p:custDataLst>
              <p:tags r:id="rId1"/>
            </p:custDataLst>
            <p:extLst>
              <p:ext uri="{D42A27DB-BD31-4B8C-83A1-F6EECF244321}">
                <p14:modId xmlns:p14="http://schemas.microsoft.com/office/powerpoint/2010/main" val="119628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2" name="Object 2" hidden="1">
                        <a:extLst>
                          <a:ext uri="{FF2B5EF4-FFF2-40B4-BE49-F238E27FC236}">
                            <a16:creationId xmlns:a16="http://schemas.microsoft.com/office/drawing/2014/main" id="{5BA7DA3C-445E-4932-9B65-4D6A0D20A4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CA400D-E795-4965-B6FF-7E4C76276D0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1" name="Slide Number">
            <a:extLst>
              <a:ext uri="{FF2B5EF4-FFF2-40B4-BE49-F238E27FC236}">
                <a16:creationId xmlns:a16="http://schemas.microsoft.com/office/drawing/2014/main" id="{B6F6B5A9-EC5A-427A-B722-8D754533C6CA}"/>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A81F4F49-6397-4B3D-8469-48AF4D7694B7}"/>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40380317-DD9B-4DD3-9D54-4A3DD7595D08}"/>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solidFill>
                  <a:schemeClr val="bg2"/>
                </a:solidFill>
                <a:cs typeface="+mn-cs"/>
              </a:defRPr>
            </a:lvl1pPr>
          </a:lstStyle>
          <a:p>
            <a:pPr lvl="0"/>
            <a:r>
              <a:rPr lang="en-US" dirty="0"/>
              <a:t>Add tracker</a:t>
            </a:r>
          </a:p>
        </p:txBody>
      </p:sp>
      <p:sp>
        <p:nvSpPr>
          <p:cNvPr id="12" name="3. Subtitle">
            <a:extLst>
              <a:ext uri="{FF2B5EF4-FFF2-40B4-BE49-F238E27FC236}">
                <a16:creationId xmlns:a16="http://schemas.microsoft.com/office/drawing/2014/main" id="{1FD3FB1A-C225-4F53-BD89-A89916FB5971}"/>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3" name="2. Slide Title">
            <a:extLst>
              <a:ext uri="{FF2B5EF4-FFF2-40B4-BE49-F238E27FC236}">
                <a16:creationId xmlns:a16="http://schemas.microsoft.com/office/drawing/2014/main" id="{0FAAF3CD-7EDD-4C58-BA1E-ECC94B13C412}"/>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943807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EE7D76-85C8-41A6-9EB9-D68C83480BB5}"/>
              </a:ext>
            </a:extLst>
          </p:cNvPr>
          <p:cNvGraphicFramePr>
            <a:graphicFrameLocks noChangeAspect="1"/>
          </p:cNvGraphicFramePr>
          <p:nvPr userDrawn="1">
            <p:custDataLst>
              <p:tags r:id="rId1"/>
            </p:custDataLst>
            <p:extLst>
              <p:ext uri="{D42A27DB-BD31-4B8C-83A1-F6EECF244321}">
                <p14:modId xmlns:p14="http://schemas.microsoft.com/office/powerpoint/2010/main" val="99412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3EE7D76-85C8-41A6-9EB9-D68C83480BB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9A7D48-0E65-43DC-8D8A-493429E6AE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4" name="Slide Number">
            <a:extLst>
              <a:ext uri="{FF2B5EF4-FFF2-40B4-BE49-F238E27FC236}">
                <a16:creationId xmlns:a16="http://schemas.microsoft.com/office/drawing/2014/main" id="{C4E25F3C-FC12-4C7B-8690-F099943594C0}"/>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3E55EE9-E402-4188-A74D-AB30DFB160AA}"/>
              </a:ext>
            </a:extLst>
          </p:cNvPr>
          <p:cNvSpPr txBox="1">
            <a:spLocks/>
          </p:cNvSpPr>
          <p:nvPr userDrawn="1">
            <p:custDataLst>
              <p:tags r:id="rId5"/>
            </p:custDataLst>
          </p:nvPr>
        </p:nvSpPr>
        <p:spPr>
          <a:xfrm>
            <a:off x="416052" y="6501669"/>
            <a:ext cx="2596896"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5E637D0B-19D9-4D07-8530-7E6D4C652B0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A51FD86C-D251-419F-9775-53D68C43FDCE}"/>
              </a:ext>
            </a:extLst>
          </p:cNvPr>
          <p:cNvSpPr>
            <a:spLocks noGrp="1"/>
          </p:cNvSpPr>
          <p:nvPr>
            <p:ph type="title"/>
            <p:custDataLst>
              <p:tags r:id="rId7"/>
            </p:custDataLst>
          </p:nvPr>
        </p:nvSpPr>
        <p:spPr>
          <a:xfrm>
            <a:off x="411163" y="2840816"/>
            <a:ext cx="2607005" cy="677108"/>
          </a:xfrm>
        </p:spPr>
        <p:txBody>
          <a:bodyPr anchor="b">
            <a:sp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DF57960B-4081-42D3-9593-9DF9A01A8DB8}"/>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Tree>
    <p:extLst>
      <p:ext uri="{BB962C8B-B14F-4D97-AF65-F5344CB8AC3E}">
        <p14:creationId xmlns:p14="http://schemas.microsoft.com/office/powerpoint/2010/main" val="3128788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7137B-26E9-42DA-94F7-D7AF0F52C4B6}"/>
              </a:ext>
            </a:extLst>
          </p:cNvPr>
          <p:cNvGraphicFramePr>
            <a:graphicFrameLocks noChangeAspect="1"/>
          </p:cNvGraphicFramePr>
          <p:nvPr userDrawn="1">
            <p:custDataLst>
              <p:tags r:id="rId1"/>
            </p:custDataLst>
            <p:extLst>
              <p:ext uri="{D42A27DB-BD31-4B8C-83A1-F6EECF244321}">
                <p14:modId xmlns:p14="http://schemas.microsoft.com/office/powerpoint/2010/main" val="162828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817137B-26E9-42DA-94F7-D7AF0F52C4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2165A603-C9EA-4311-A3EC-F68767B7C5C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BB1212C4-056D-4A20-884D-EF89127DE9F8}"/>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6C7A622-8483-4B87-87E0-9F2667994F19}"/>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F41D59B4-4CC5-465C-B42F-EE64766CDDE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122519FC-9CF0-4086-A9C4-A8B994B41403}"/>
              </a:ext>
            </a:extLst>
          </p:cNvPr>
          <p:cNvSpPr>
            <a:spLocks noGrp="1"/>
          </p:cNvSpPr>
          <p:nvPr>
            <p:ph type="title"/>
            <p:custDataLst>
              <p:tags r:id="rId7"/>
            </p:custDataLst>
          </p:nvPr>
        </p:nvSpPr>
        <p:spPr>
          <a:xfrm>
            <a:off x="416052" y="173736"/>
            <a:ext cx="3869385" cy="338554"/>
          </a:xfrm>
        </p:spPr>
        <p:txBody>
          <a:bodyPr wrap="square">
            <a:sp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ECB780D1-3E2B-4565-A6F9-A030B7CCCCE8}"/>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24719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FA6AD-EDA1-41F4-A94A-AFE1CDAACEAF}"/>
              </a:ext>
            </a:extLst>
          </p:cNvPr>
          <p:cNvGraphicFramePr>
            <a:graphicFrameLocks noChangeAspect="1"/>
          </p:cNvGraphicFramePr>
          <p:nvPr userDrawn="1">
            <p:custDataLst>
              <p:tags r:id="rId1"/>
            </p:custDataLst>
            <p:extLst>
              <p:ext uri="{D42A27DB-BD31-4B8C-83A1-F6EECF244321}">
                <p14:modId xmlns:p14="http://schemas.microsoft.com/office/powerpoint/2010/main" val="137729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07FA6AD-EDA1-41F4-A94A-AFE1CDAACEA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0F0071F0-53F4-436B-8550-E862D0B4136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5" name="Slide Number">
            <a:extLst>
              <a:ext uri="{FF2B5EF4-FFF2-40B4-BE49-F238E27FC236}">
                <a16:creationId xmlns:a16="http://schemas.microsoft.com/office/drawing/2014/main" id="{B3820AF2-F01B-4516-A988-BDB56C82C06B}"/>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C1B7EA2-0CD8-4209-B849-B1928AC0D528}"/>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D034326F-B789-4AA1-A5B0-6F18B028049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D944E0A9-A3EA-46D9-ADD9-4EB81E273B21}"/>
              </a:ext>
            </a:extLst>
          </p:cNvPr>
          <p:cNvSpPr>
            <a:spLocks noGrp="1"/>
          </p:cNvSpPr>
          <p:nvPr>
            <p:ph type="title"/>
            <p:custDataLst>
              <p:tags r:id="rId7"/>
            </p:custDataLst>
          </p:nvPr>
        </p:nvSpPr>
        <p:spPr>
          <a:xfrm>
            <a:off x="416052" y="173736"/>
            <a:ext cx="5225477" cy="338554"/>
          </a:xfrm>
        </p:spPr>
        <p:txBody>
          <a:bodyPr>
            <a:no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6E669794-8AC7-453E-A1CC-88738056B9EB}"/>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69503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9925710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3534B5-88C0-4A63-97A0-468E34B707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6586062" y="0"/>
            <a:ext cx="255793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31" name="Slide Number">
            <a:extLst>
              <a:ext uri="{FF2B5EF4-FFF2-40B4-BE49-F238E27FC236}">
                <a16:creationId xmlns:a16="http://schemas.microsoft.com/office/drawing/2014/main" id="{379D2FC5-7414-4BC9-B4BF-9AF5FD6513F6}"/>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1C8D134F-A731-4739-8143-D2686DEB74D2}"/>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bg2"/>
                </a:solidFill>
              </a:rPr>
              <a:t>Source: …</a:t>
            </a:r>
          </a:p>
        </p:txBody>
      </p:sp>
      <p:sp>
        <p:nvSpPr>
          <p:cNvPr id="11" name="1. On-page tracker">
            <a:extLst>
              <a:ext uri="{FF2B5EF4-FFF2-40B4-BE49-F238E27FC236}">
                <a16:creationId xmlns:a16="http://schemas.microsoft.com/office/drawing/2014/main" id="{55319B61-A433-4501-B07D-11941ABA824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FEADE91D-2ED8-4100-AE37-092B06AD372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solidFill>
                  <a:schemeClr val="bg2"/>
                </a:solidFill>
              </a:defRPr>
            </a:lvl1pPr>
          </a:lstStyle>
          <a:p>
            <a:pPr lvl="0"/>
            <a:r>
              <a:rPr lang="en-US" dirty="0"/>
              <a:t>Click to edit Master title style</a:t>
            </a:r>
          </a:p>
        </p:txBody>
      </p:sp>
      <p:sp>
        <p:nvSpPr>
          <p:cNvPr id="13" name="3. Subtitle">
            <a:extLst>
              <a:ext uri="{FF2B5EF4-FFF2-40B4-BE49-F238E27FC236}">
                <a16:creationId xmlns:a16="http://schemas.microsoft.com/office/drawing/2014/main" id="{8CA86431-7EC3-42D3-AB7D-A694A41C6C9C}"/>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solidFill>
                  <a:schemeClr val="bg2"/>
                </a:solidFill>
              </a:defRPr>
            </a:lvl1pPr>
          </a:lstStyle>
          <a:p>
            <a:pPr lvl="0">
              <a:buNone/>
            </a:pPr>
            <a:r>
              <a:rPr lang="en-US" dirty="0"/>
              <a:t>Click to edit Master subtitle style</a:t>
            </a:r>
          </a:p>
        </p:txBody>
      </p:sp>
    </p:spTree>
    <p:extLst>
      <p:ext uri="{BB962C8B-B14F-4D97-AF65-F5344CB8AC3E}">
        <p14:creationId xmlns:p14="http://schemas.microsoft.com/office/powerpoint/2010/main" val="20908564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FC76F2A2-1ABA-4A04-9B09-0337ED58F43E}"/>
              </a:ext>
            </a:extLst>
          </p:cNvPr>
          <p:cNvGraphicFramePr>
            <a:graphicFrameLocks noChangeAspect="1"/>
          </p:cNvGraphicFramePr>
          <p:nvPr userDrawn="1">
            <p:custDataLst>
              <p:tags r:id="rId1"/>
            </p:custDataLst>
            <p:extLst>
              <p:ext uri="{D42A27DB-BD31-4B8C-83A1-F6EECF244321}">
                <p14:modId xmlns:p14="http://schemas.microsoft.com/office/powerpoint/2010/main" val="94039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1" hidden="1">
                        <a:extLst>
                          <a:ext uri="{FF2B5EF4-FFF2-40B4-BE49-F238E27FC236}">
                            <a16:creationId xmlns:a16="http://schemas.microsoft.com/office/drawing/2014/main" id="{FC76F2A2-1ABA-4A04-9B09-0337ED58F43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BF2AB45-B29F-4A30-8BFF-9AB641C7A5C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47E4E1B2-7BEE-4850-9B22-8E975606656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DD8848D6-BF42-4D5E-B951-2BE62FA6F58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0064834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F4DBA6-D3B0-48EF-A7F6-B91F9D471962}"/>
              </a:ext>
            </a:extLst>
          </p:cNvPr>
          <p:cNvGraphicFramePr>
            <a:graphicFrameLocks noChangeAspect="1"/>
          </p:cNvGraphicFramePr>
          <p:nvPr userDrawn="1">
            <p:custDataLst>
              <p:tags r:id="rId1"/>
            </p:custDataLst>
            <p:extLst>
              <p:ext uri="{D42A27DB-BD31-4B8C-83A1-F6EECF244321}">
                <p14:modId xmlns:p14="http://schemas.microsoft.com/office/powerpoint/2010/main" val="1599892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9F4DBA6-D3B0-48EF-A7F6-B91F9D4719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4314F30F-D12A-4F12-9A27-219736E74FDA}"/>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DD4E823E-DF1B-436E-BC30-2B44F8356ACA}"/>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0CC233E2-5317-4D52-9C0D-8DB3AC55BB47}"/>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6798500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2D60A9-87F7-4095-BE4F-D6501EB81440}"/>
              </a:ext>
            </a:extLst>
          </p:cNvPr>
          <p:cNvGraphicFramePr>
            <a:graphicFrameLocks noChangeAspect="1"/>
          </p:cNvGraphicFramePr>
          <p:nvPr userDrawn="1">
            <p:custDataLst>
              <p:tags r:id="rId1"/>
            </p:custDataLst>
            <p:extLst>
              <p:ext uri="{D42A27DB-BD31-4B8C-83A1-F6EECF244321}">
                <p14:modId xmlns:p14="http://schemas.microsoft.com/office/powerpoint/2010/main" val="51019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312D60A9-87F7-4095-BE4F-D6501EB814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280A55D4-B754-41C0-9254-74244C7FC0FB}"/>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357411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17200456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22846300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2257339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264512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07872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044347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193530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7890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2298182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501730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1945369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8719376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14792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5631766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545827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5" name="TextBox 4">
            <a:extLst>
              <a:ext uri="{FF2B5EF4-FFF2-40B4-BE49-F238E27FC236}">
                <a16:creationId xmlns:a16="http://schemas.microsoft.com/office/drawing/2014/main" id="{1B57B1F2-0D07-4497-BA4B-6E4153EF2D2A}"/>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0958399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name="think-cell Slide" r:id="rId5" imgW="393" imgH="394" progId="TCLayout.ActiveDocument.1">
                  <p:embed/>
                </p:oleObj>
              </mc:Choice>
              <mc:Fallback>
                <p:oleObj name="think-cell Slide" r:id="rId5" imgW="393" imgH="394" progId="TCLayout.ActiveDocument.1">
                  <p:embed/>
                  <p:pic>
                    <p:nvPicPr>
                      <p:cNvPr id="3" name="Object 2" hidden="1"/>
                      <p:cNvPicPr/>
                      <p:nvPr/>
                    </p:nvPicPr>
                    <p:blipFill>
                      <a:blip r:embed="rId6"/>
                      <a:stretch>
                        <a:fillRect/>
                      </a:stretch>
                    </p:blipFill>
                    <p:spPr>
                      <a:xfrm>
                        <a:off x="1622" y="1623"/>
                        <a:ext cx="1619" cy="1619"/>
                      </a:xfrm>
                      <a:prstGeom prst="rect">
                        <a:avLst/>
                      </a:prstGeom>
                    </p:spPr>
                  </p:pic>
                </p:oleObj>
              </mc:Fallback>
            </mc:AlternateContent>
          </a:graphicData>
        </a:graphic>
      </p:graphicFrame>
      <p:sp>
        <p:nvSpPr>
          <p:cNvPr id="4" name="Rectangle 7" hidden="1">
            <a:extLst>
              <a:ext uri="{FF2B5EF4-FFF2-40B4-BE49-F238E27FC236}">
                <a16:creationId xmlns:a16="http://schemas.microsoft.com/office/drawing/2014/main" id="{C393A5F2-8637-4A82-8120-E9907FF92816}"/>
              </a:ext>
            </a:extLst>
          </p:cNvPr>
          <p:cNvSpPr/>
          <p:nvPr userDrawn="1">
            <p:custDataLst>
              <p:tags r:id="rId2"/>
            </p:custDataLst>
          </p:nvPr>
        </p:nvSpPr>
        <p:spPr>
          <a:xfrm>
            <a:off x="1"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12" baseline="0" dirty="0">
              <a:solidFill>
                <a:srgbClr val="808080"/>
              </a:solidFill>
              <a:latin typeface="+mn-lt"/>
              <a:ea typeface="+mn-ea"/>
            </a:endParaRPr>
          </a:p>
        </p:txBody>
      </p:sp>
      <p:sp>
        <p:nvSpPr>
          <p:cNvPr id="9" name="Slide Number">
            <a:extLst>
              <a:ext uri="{FF2B5EF4-FFF2-40B4-BE49-F238E27FC236}">
                <a16:creationId xmlns:a16="http://schemas.microsoft.com/office/drawing/2014/main" id="{4DA54418-B561-473B-B322-DBAE0888AC3E}"/>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38922973"/>
      </p:ext>
    </p:extLst>
  </p:cSld>
  <p:clrMapOvr>
    <a:masterClrMapping/>
  </p:clrMapOvr>
  <p:extLst>
    <p:ext uri="{DCECCB84-F9BA-43D5-87BE-67443E8EF086}">
      <p15:sldGuideLst xmlns:p15="http://schemas.microsoft.com/office/powerpoint/2012/main">
        <p15:guide id="1" pos="4129">
          <p15:clr>
            <a:srgbClr val="F26B43"/>
          </p15:clr>
        </p15:guide>
        <p15:guide id="2" pos="56">
          <p15:clr>
            <a:srgbClr val="F26B43"/>
          </p15:clr>
        </p15:guide>
        <p15:guide id="3" orient="horz" pos="571">
          <p15:clr>
            <a:srgbClr val="F26B43"/>
          </p15:clr>
        </p15:guide>
        <p15:guide id="4" orient="horz" pos="3911">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00" b="1" dirty="0">
              <a:solidFill>
                <a:srgbClr val="FFFFFF"/>
              </a:solidFill>
              <a:latin typeface="Arial"/>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2"/>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16A877DD-D20E-44D1-9DCC-7B13DFBEDBDD}"/>
              </a:ext>
            </a:extLst>
          </p:cNvPr>
          <p:cNvSpPr txBox="1"/>
          <p:nvPr userDrawn="1"/>
        </p:nvSpPr>
        <p:spPr>
          <a:xfrm>
            <a:off x="8545514" y="6445664"/>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7745946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623D28-6A1E-4FD6-BF76-460C8E767576}" type="datetimeFigureOut">
              <a:rPr lang="en-US" smtClean="0"/>
              <a:t>8/11/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D564EF2-3EFA-4B06-B5BC-1855B6598F39}" type="slidenum">
              <a:rPr lang="en-US" smtClean="0"/>
              <a:t>‹#›</a:t>
            </a:fld>
            <a:endParaRPr lang="en-US" dirty="0"/>
          </a:p>
        </p:txBody>
      </p:sp>
      <p:sp>
        <p:nvSpPr>
          <p:cNvPr id="5" name="TextBox 4">
            <a:extLst>
              <a:ext uri="{FF2B5EF4-FFF2-40B4-BE49-F238E27FC236}">
                <a16:creationId xmlns:a16="http://schemas.microsoft.com/office/drawing/2014/main" id="{965D2465-7C12-4675-A7FA-38B1EC34C279}"/>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330130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 Draft and Pre-Decisional</a:t>
            </a:r>
          </a:p>
        </p:txBody>
      </p:sp>
    </p:spTree>
    <p:extLst>
      <p:ext uri="{BB962C8B-B14F-4D97-AF65-F5344CB8AC3E}">
        <p14:creationId xmlns:p14="http://schemas.microsoft.com/office/powerpoint/2010/main" val="33651312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8476488" y="666942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Documenttype">
            <a:extLst>
              <a:ext uri="{FF2B5EF4-FFF2-40B4-BE49-F238E27FC236}">
                <a16:creationId xmlns:a16="http://schemas.microsoft.com/office/drawing/2014/main" id="{335AEFB6-D0FB-42BD-A7D9-B038003F9038}"/>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89955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2100125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079707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9F978F88-888E-4902-AE4E-763730DFD54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6476263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D55D8EEB-2BE1-4282-98D8-53EF303E8282}"/>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3" name="Documenttype">
            <a:extLst>
              <a:ext uri="{FF2B5EF4-FFF2-40B4-BE49-F238E27FC236}">
                <a16:creationId xmlns:a16="http://schemas.microsoft.com/office/drawing/2014/main" id="{FF46468E-B5D9-4D46-B53F-92250D42CD9A}"/>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4420570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5"/>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15" name="Slide Number">
            <a:extLst>
              <a:ext uri="{FF2B5EF4-FFF2-40B4-BE49-F238E27FC236}">
                <a16:creationId xmlns:a16="http://schemas.microsoft.com/office/drawing/2014/main" id="{971BC29E-3439-42EF-857A-06339F96CBBC}"/>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2" name="Documenttype">
            <a:extLst>
              <a:ext uri="{FF2B5EF4-FFF2-40B4-BE49-F238E27FC236}">
                <a16:creationId xmlns:a16="http://schemas.microsoft.com/office/drawing/2014/main" id="{37CB39DD-EF4E-42C9-A79F-7772D544B1B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842890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5"/>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6"/>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6" name="Slide Number">
            <a:extLst>
              <a:ext uri="{FF2B5EF4-FFF2-40B4-BE49-F238E27FC236}">
                <a16:creationId xmlns:a16="http://schemas.microsoft.com/office/drawing/2014/main" id="{24794E3C-7711-4AF2-84E5-0B386A07C845}"/>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FD552472-5C1D-460A-A4B4-6CF2E8B85AE3}"/>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1408956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4"/>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5"/>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6"/>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7"/>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Slide Number">
            <a:extLst>
              <a:ext uri="{FF2B5EF4-FFF2-40B4-BE49-F238E27FC236}">
                <a16:creationId xmlns:a16="http://schemas.microsoft.com/office/drawing/2014/main" id="{F463310E-A1CE-491A-A58B-9DF9FAD834F7}"/>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2419FD05-7C22-4B7B-A703-31F91DCDD9E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4740079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4"/>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6"/>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7"/>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297D7C76-C65E-4CC9-A67E-4696F7C9613D}"/>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F3F73D64-B470-4557-8F79-8782F469C850}"/>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5544352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4"/>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6"/>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7"/>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0AA6CB2-9326-44D6-9F1F-EBBC1FF32956}"/>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B76ACF59-02C1-479D-897F-32A99C4BF1B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10521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4"/>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6"/>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7"/>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A176909-1827-47A3-9269-999921D650E9}"/>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E7EE37E3-110B-4CCF-BDA9-78DE4A64FA3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2920565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4"/>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6"/>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7"/>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Slide Number">
            <a:extLst>
              <a:ext uri="{FF2B5EF4-FFF2-40B4-BE49-F238E27FC236}">
                <a16:creationId xmlns:a16="http://schemas.microsoft.com/office/drawing/2014/main" id="{FC049C98-96F1-4F55-B79F-1572DAC8C7DA}"/>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61C2D8E6-F8F1-4FA3-994A-119390ACFF5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2419999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Slide Number">
            <a:extLst>
              <a:ext uri="{FF2B5EF4-FFF2-40B4-BE49-F238E27FC236}">
                <a16:creationId xmlns:a16="http://schemas.microsoft.com/office/drawing/2014/main" id="{BFF4B3B8-EB8B-4398-9258-E4FEB2757327}"/>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Documenttype">
            <a:extLst>
              <a:ext uri="{FF2B5EF4-FFF2-40B4-BE49-F238E27FC236}">
                <a16:creationId xmlns:a16="http://schemas.microsoft.com/office/drawing/2014/main" id="{1A6FC294-D020-45FF-B13F-B960E542BFD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620962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30280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97063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047C437-9378-4088-A289-F201ABA447D1}"/>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3"/>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Slide Number">
            <a:extLst>
              <a:ext uri="{FF2B5EF4-FFF2-40B4-BE49-F238E27FC236}">
                <a16:creationId xmlns:a16="http://schemas.microsoft.com/office/drawing/2014/main" id="{E882B8BD-EE7D-4A81-AADC-1A688E7F0FDA}"/>
              </a:ext>
            </a:extLst>
          </p:cNvPr>
          <p:cNvSpPr>
            <a:spLocks noChangeArrowheads="1"/>
          </p:cNvSpPr>
          <p:nvPr userDrawn="1">
            <p:custDataLst>
              <p:tags r:id="rId4"/>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253ABF71-6503-4C48-B2E1-8F33E6AC9AB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686545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Slide Number">
            <a:extLst>
              <a:ext uri="{FF2B5EF4-FFF2-40B4-BE49-F238E27FC236}">
                <a16:creationId xmlns:a16="http://schemas.microsoft.com/office/drawing/2014/main" id="{10773ED9-681A-4C23-9D46-B6F2680699C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Documenttype">
            <a:extLst>
              <a:ext uri="{FF2B5EF4-FFF2-40B4-BE49-F238E27FC236}">
                <a16:creationId xmlns:a16="http://schemas.microsoft.com/office/drawing/2014/main" id="{B44DD919-5728-4942-B695-1A8A92813B5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533570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55432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2473892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360471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223324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1944319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9735543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59779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1531967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70521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686426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114849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9434852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401446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4391051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203812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50469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25223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116976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38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7244696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80772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227736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151103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7706401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3041193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5291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2962296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990178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3196152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5200021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3856168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7060775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8/11/2022</a:t>
            </a:fld>
            <a:endParaRPr lang="en-US" dirty="0"/>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dirty="0"/>
          </a:p>
        </p:txBody>
      </p:sp>
    </p:spTree>
    <p:extLst>
      <p:ext uri="{BB962C8B-B14F-4D97-AF65-F5344CB8AC3E}">
        <p14:creationId xmlns:p14="http://schemas.microsoft.com/office/powerpoint/2010/main" val="42382250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623D28-6A1E-4FD6-BF76-460C8E767576}" type="datetimeFigureOut">
              <a:rPr lang="en-US" smtClean="0"/>
              <a:t>8/11/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D564EF2-3EFA-4B06-B5BC-1855B6598F39}" type="slidenum">
              <a:rPr lang="en-US" smtClean="0"/>
              <a:t>‹#›</a:t>
            </a:fld>
            <a:endParaRPr lang="en-US" dirty="0"/>
          </a:p>
        </p:txBody>
      </p:sp>
    </p:spTree>
    <p:extLst>
      <p:ext uri="{BB962C8B-B14F-4D97-AF65-F5344CB8AC3E}">
        <p14:creationId xmlns:p14="http://schemas.microsoft.com/office/powerpoint/2010/main" val="11974017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473235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 Draft and Pre-Decisional</a:t>
            </a:r>
          </a:p>
        </p:txBody>
      </p:sp>
    </p:spTree>
    <p:extLst>
      <p:ext uri="{BB962C8B-B14F-4D97-AF65-F5344CB8AC3E}">
        <p14:creationId xmlns:p14="http://schemas.microsoft.com/office/powerpoint/2010/main" val="37078269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2423571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703695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237828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8476488" y="666942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Documenttype">
            <a:extLst>
              <a:ext uri="{FF2B5EF4-FFF2-40B4-BE49-F238E27FC236}">
                <a16:creationId xmlns:a16="http://schemas.microsoft.com/office/drawing/2014/main" id="{335AEFB6-D0FB-42BD-A7D9-B038003F9038}"/>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1912750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985941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9F978F88-888E-4902-AE4E-763730DFD54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6995620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129155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D55D8EEB-2BE1-4282-98D8-53EF303E8282}"/>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3" name="Documenttype">
            <a:extLst>
              <a:ext uri="{FF2B5EF4-FFF2-40B4-BE49-F238E27FC236}">
                <a16:creationId xmlns:a16="http://schemas.microsoft.com/office/drawing/2014/main" id="{FF46468E-B5D9-4D46-B53F-92250D42CD9A}"/>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929347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1699492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5"/>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15" name="Slide Number">
            <a:extLst>
              <a:ext uri="{FF2B5EF4-FFF2-40B4-BE49-F238E27FC236}">
                <a16:creationId xmlns:a16="http://schemas.microsoft.com/office/drawing/2014/main" id="{971BC29E-3439-42EF-857A-06339F96CBBC}"/>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2" name="Documenttype">
            <a:extLst>
              <a:ext uri="{FF2B5EF4-FFF2-40B4-BE49-F238E27FC236}">
                <a16:creationId xmlns:a16="http://schemas.microsoft.com/office/drawing/2014/main" id="{37CB39DD-EF4E-42C9-A79F-7772D544B1B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0470727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158082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5"/>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6"/>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6" name="Slide Number">
            <a:extLst>
              <a:ext uri="{FF2B5EF4-FFF2-40B4-BE49-F238E27FC236}">
                <a16:creationId xmlns:a16="http://schemas.microsoft.com/office/drawing/2014/main" id="{24794E3C-7711-4AF2-84E5-0B386A07C845}"/>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FD552472-5C1D-460A-A4B4-6CF2E8B85AE3}"/>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030041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197505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4"/>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5"/>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6"/>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7"/>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Slide Number">
            <a:extLst>
              <a:ext uri="{FF2B5EF4-FFF2-40B4-BE49-F238E27FC236}">
                <a16:creationId xmlns:a16="http://schemas.microsoft.com/office/drawing/2014/main" id="{F463310E-A1CE-491A-A58B-9DF9FAD834F7}"/>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2419FD05-7C22-4B7B-A703-31F91DCDD9E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0820346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1899738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4"/>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6"/>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7"/>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297D7C76-C65E-4CC9-A67E-4696F7C9613D}"/>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F3F73D64-B470-4557-8F79-8782F469C850}"/>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6632113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47382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4"/>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6"/>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7"/>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0AA6CB2-9326-44D6-9F1F-EBBC1FF32956}"/>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B76ACF59-02C1-479D-897F-32A99C4BF1B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5715484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30772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4"/>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6"/>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7"/>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A176909-1827-47A3-9269-999921D650E9}"/>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E7EE37E3-110B-4CCF-BDA9-78DE4A64FA3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640977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303753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4"/>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6"/>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7"/>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Slide Number">
            <a:extLst>
              <a:ext uri="{FF2B5EF4-FFF2-40B4-BE49-F238E27FC236}">
                <a16:creationId xmlns:a16="http://schemas.microsoft.com/office/drawing/2014/main" id="{FC049C98-96F1-4F55-B79F-1572DAC8C7DA}"/>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61C2D8E6-F8F1-4FA3-994A-119390ACFF5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0611223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153241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6929100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857781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Slide Number">
            <a:extLst>
              <a:ext uri="{FF2B5EF4-FFF2-40B4-BE49-F238E27FC236}">
                <a16:creationId xmlns:a16="http://schemas.microsoft.com/office/drawing/2014/main" id="{BFF4B3B8-EB8B-4398-9258-E4FEB2757327}"/>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Documenttype">
            <a:extLst>
              <a:ext uri="{FF2B5EF4-FFF2-40B4-BE49-F238E27FC236}">
                <a16:creationId xmlns:a16="http://schemas.microsoft.com/office/drawing/2014/main" id="{1A6FC294-D020-45FF-B13F-B960E542BFD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8757945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234516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047C437-9378-4088-A289-F201ABA447D1}"/>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3"/>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Slide Number">
            <a:extLst>
              <a:ext uri="{FF2B5EF4-FFF2-40B4-BE49-F238E27FC236}">
                <a16:creationId xmlns:a16="http://schemas.microsoft.com/office/drawing/2014/main" id="{E882B8BD-EE7D-4A81-AADC-1A688E7F0FDA}"/>
              </a:ext>
            </a:extLst>
          </p:cNvPr>
          <p:cNvSpPr>
            <a:spLocks noChangeArrowheads="1"/>
          </p:cNvSpPr>
          <p:nvPr userDrawn="1">
            <p:custDataLst>
              <p:tags r:id="rId4"/>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253ABF71-6503-4C48-B2E1-8F33E6AC9AB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51936918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90776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Slide Number">
            <a:extLst>
              <a:ext uri="{FF2B5EF4-FFF2-40B4-BE49-F238E27FC236}">
                <a16:creationId xmlns:a16="http://schemas.microsoft.com/office/drawing/2014/main" id="{10773ED9-681A-4C23-9D46-B6F2680699C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Documenttype">
            <a:extLst>
              <a:ext uri="{FF2B5EF4-FFF2-40B4-BE49-F238E27FC236}">
                <a16:creationId xmlns:a16="http://schemas.microsoft.com/office/drawing/2014/main" id="{B44DD919-5728-4942-B695-1A8A92813B5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7084911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59348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460355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4869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26140999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174383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20907944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375771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6727435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19350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5098791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402874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8867869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10716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5032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137.xml"/><Relationship Id="rId26" Type="http://schemas.openxmlformats.org/officeDocument/2006/relationships/tags" Target="../tags/tag145.xml"/><Relationship Id="rId3" Type="http://schemas.openxmlformats.org/officeDocument/2006/relationships/slideLayout" Target="../slideLayouts/slideLayout18.xml"/><Relationship Id="rId21" Type="http://schemas.openxmlformats.org/officeDocument/2006/relationships/tags" Target="../tags/tag140.xml"/><Relationship Id="rId34" Type="http://schemas.openxmlformats.org/officeDocument/2006/relationships/tags" Target="../tags/tag153.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tags" Target="../tags/tag152.xml"/><Relationship Id="rId38" Type="http://schemas.openxmlformats.org/officeDocument/2006/relationships/image" Target="../media/image3.emf"/><Relationship Id="rId2" Type="http://schemas.openxmlformats.org/officeDocument/2006/relationships/slideLayout" Target="../slideLayouts/slideLayout17.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tags" Target="../tags/tag148.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43.xml"/><Relationship Id="rId32" Type="http://schemas.openxmlformats.org/officeDocument/2006/relationships/tags" Target="../tags/tag151.xml"/><Relationship Id="rId37" Type="http://schemas.openxmlformats.org/officeDocument/2006/relationships/oleObject" Target="../embeddings/oleObject17.bin"/><Relationship Id="rId5" Type="http://schemas.openxmlformats.org/officeDocument/2006/relationships/slideLayout" Target="../slideLayouts/slideLayout20.xml"/><Relationship Id="rId15" Type="http://schemas.openxmlformats.org/officeDocument/2006/relationships/theme" Target="../theme/theme2.xml"/><Relationship Id="rId23" Type="http://schemas.openxmlformats.org/officeDocument/2006/relationships/tags" Target="../tags/tag142.xml"/><Relationship Id="rId28" Type="http://schemas.openxmlformats.org/officeDocument/2006/relationships/tags" Target="../tags/tag147.xml"/><Relationship Id="rId36" Type="http://schemas.openxmlformats.org/officeDocument/2006/relationships/tags" Target="../tags/tag155.xml"/><Relationship Id="rId10" Type="http://schemas.openxmlformats.org/officeDocument/2006/relationships/slideLayout" Target="../slideLayouts/slideLayout25.xml"/><Relationship Id="rId19" Type="http://schemas.openxmlformats.org/officeDocument/2006/relationships/tags" Target="../tags/tag138.xml"/><Relationship Id="rId31" Type="http://schemas.openxmlformats.org/officeDocument/2006/relationships/tags" Target="../tags/tag150.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tags" Target="../tags/tag1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tags" Target="../tags/tag252.xml"/><Relationship Id="rId39" Type="http://schemas.openxmlformats.org/officeDocument/2006/relationships/tags" Target="../tags/tag265.xml"/><Relationship Id="rId3" Type="http://schemas.openxmlformats.org/officeDocument/2006/relationships/slideLayout" Target="../slideLayouts/slideLayout32.xml"/><Relationship Id="rId21" Type="http://schemas.openxmlformats.org/officeDocument/2006/relationships/tags" Target="../tags/tag247.xml"/><Relationship Id="rId34" Type="http://schemas.openxmlformats.org/officeDocument/2006/relationships/tags" Target="../tags/tag260.xml"/><Relationship Id="rId42" Type="http://schemas.openxmlformats.org/officeDocument/2006/relationships/oleObject" Target="../embeddings/oleObject32.bin"/><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tags" Target="../tags/tag251.xml"/><Relationship Id="rId33" Type="http://schemas.openxmlformats.org/officeDocument/2006/relationships/tags" Target="../tags/tag259.xml"/><Relationship Id="rId38" Type="http://schemas.openxmlformats.org/officeDocument/2006/relationships/tags" Target="../tags/tag26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ags" Target="../tags/tag246.xml"/><Relationship Id="rId29" Type="http://schemas.openxmlformats.org/officeDocument/2006/relationships/tags" Target="../tags/tag255.xml"/><Relationship Id="rId41" Type="http://schemas.openxmlformats.org/officeDocument/2006/relationships/tags" Target="../tags/tag267.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250.xml"/><Relationship Id="rId32" Type="http://schemas.openxmlformats.org/officeDocument/2006/relationships/tags" Target="../tags/tag258.xml"/><Relationship Id="rId37" Type="http://schemas.openxmlformats.org/officeDocument/2006/relationships/tags" Target="../tags/tag263.xml"/><Relationship Id="rId40" Type="http://schemas.openxmlformats.org/officeDocument/2006/relationships/tags" Target="../tags/tag266.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ags" Target="../tags/tag249.xml"/><Relationship Id="rId28" Type="http://schemas.openxmlformats.org/officeDocument/2006/relationships/tags" Target="../tags/tag254.xml"/><Relationship Id="rId36" Type="http://schemas.openxmlformats.org/officeDocument/2006/relationships/tags" Target="../tags/tag262.xml"/><Relationship Id="rId10" Type="http://schemas.openxmlformats.org/officeDocument/2006/relationships/slideLayout" Target="../slideLayouts/slideLayout39.xml"/><Relationship Id="rId19" Type="http://schemas.openxmlformats.org/officeDocument/2006/relationships/theme" Target="../theme/theme3.xml"/><Relationship Id="rId31" Type="http://schemas.openxmlformats.org/officeDocument/2006/relationships/tags" Target="../tags/tag257.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ags" Target="../tags/tag248.xml"/><Relationship Id="rId27" Type="http://schemas.openxmlformats.org/officeDocument/2006/relationships/tags" Target="../tags/tag253.xml"/><Relationship Id="rId30" Type="http://schemas.openxmlformats.org/officeDocument/2006/relationships/tags" Target="../tags/tag256.xml"/><Relationship Id="rId35" Type="http://schemas.openxmlformats.org/officeDocument/2006/relationships/tags" Target="../tags/tag261.xml"/><Relationship Id="rId43"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tags" Target="../tags/tag386.xml"/><Relationship Id="rId26" Type="http://schemas.openxmlformats.org/officeDocument/2006/relationships/tags" Target="../tags/tag394.xml"/><Relationship Id="rId3" Type="http://schemas.openxmlformats.org/officeDocument/2006/relationships/slideLayout" Target="../slideLayouts/slideLayout50.xml"/><Relationship Id="rId21" Type="http://schemas.openxmlformats.org/officeDocument/2006/relationships/tags" Target="../tags/tag389.xml"/><Relationship Id="rId34" Type="http://schemas.openxmlformats.org/officeDocument/2006/relationships/tags" Target="../tags/tag402.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ags" Target="../tags/tag385.xml"/><Relationship Id="rId25" Type="http://schemas.openxmlformats.org/officeDocument/2006/relationships/tags" Target="../tags/tag393.xml"/><Relationship Id="rId33" Type="http://schemas.openxmlformats.org/officeDocument/2006/relationships/tags" Target="../tags/tag401.xml"/><Relationship Id="rId38" Type="http://schemas.openxmlformats.org/officeDocument/2006/relationships/image" Target="../media/image1.emf"/><Relationship Id="rId2" Type="http://schemas.openxmlformats.org/officeDocument/2006/relationships/slideLayout" Target="../slideLayouts/slideLayout49.xml"/><Relationship Id="rId16" Type="http://schemas.openxmlformats.org/officeDocument/2006/relationships/tags" Target="../tags/tag384.xml"/><Relationship Id="rId20" Type="http://schemas.openxmlformats.org/officeDocument/2006/relationships/tags" Target="../tags/tag388.xml"/><Relationship Id="rId29" Type="http://schemas.openxmlformats.org/officeDocument/2006/relationships/tags" Target="../tags/tag39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ags" Target="../tags/tag392.xml"/><Relationship Id="rId32" Type="http://schemas.openxmlformats.org/officeDocument/2006/relationships/tags" Target="../tags/tag400.xml"/><Relationship Id="rId37" Type="http://schemas.openxmlformats.org/officeDocument/2006/relationships/oleObject" Target="../embeddings/oleObject50.bin"/><Relationship Id="rId5" Type="http://schemas.openxmlformats.org/officeDocument/2006/relationships/slideLayout" Target="../slideLayouts/slideLayout52.xml"/><Relationship Id="rId15" Type="http://schemas.openxmlformats.org/officeDocument/2006/relationships/theme" Target="../theme/theme4.xml"/><Relationship Id="rId23" Type="http://schemas.openxmlformats.org/officeDocument/2006/relationships/tags" Target="../tags/tag391.xml"/><Relationship Id="rId28" Type="http://schemas.openxmlformats.org/officeDocument/2006/relationships/tags" Target="../tags/tag396.xml"/><Relationship Id="rId36" Type="http://schemas.openxmlformats.org/officeDocument/2006/relationships/tags" Target="../tags/tag404.xml"/><Relationship Id="rId10" Type="http://schemas.openxmlformats.org/officeDocument/2006/relationships/slideLayout" Target="../slideLayouts/slideLayout57.xml"/><Relationship Id="rId19" Type="http://schemas.openxmlformats.org/officeDocument/2006/relationships/tags" Target="../tags/tag387.xml"/><Relationship Id="rId31" Type="http://schemas.openxmlformats.org/officeDocument/2006/relationships/tags" Target="../tags/tag399.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ags" Target="../tags/tag390.xml"/><Relationship Id="rId27" Type="http://schemas.openxmlformats.org/officeDocument/2006/relationships/tags" Target="../tags/tag395.xml"/><Relationship Id="rId30" Type="http://schemas.openxmlformats.org/officeDocument/2006/relationships/tags" Target="../tags/tag398.xml"/><Relationship Id="rId35" Type="http://schemas.openxmlformats.org/officeDocument/2006/relationships/tags" Target="../tags/tag4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theme" Target="../theme/theme5.xml"/><Relationship Id="rId26" Type="http://schemas.openxmlformats.org/officeDocument/2006/relationships/tags" Target="../tags/tag505.xml"/><Relationship Id="rId39" Type="http://schemas.openxmlformats.org/officeDocument/2006/relationships/tags" Target="../tags/tag518.xml"/><Relationship Id="rId3" Type="http://schemas.openxmlformats.org/officeDocument/2006/relationships/slideLayout" Target="../slideLayouts/slideLayout64.xml"/><Relationship Id="rId21" Type="http://schemas.openxmlformats.org/officeDocument/2006/relationships/tags" Target="../tags/tag500.xml"/><Relationship Id="rId34" Type="http://schemas.openxmlformats.org/officeDocument/2006/relationships/tags" Target="../tags/tag513.xml"/><Relationship Id="rId42" Type="http://schemas.openxmlformats.org/officeDocument/2006/relationships/image" Target="../media/image1.emf"/><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tags" Target="../tags/tag504.xml"/><Relationship Id="rId33" Type="http://schemas.openxmlformats.org/officeDocument/2006/relationships/tags" Target="../tags/tag512.xml"/><Relationship Id="rId38" Type="http://schemas.openxmlformats.org/officeDocument/2006/relationships/tags" Target="../tags/tag517.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tags" Target="../tags/tag499.xml"/><Relationship Id="rId29" Type="http://schemas.openxmlformats.org/officeDocument/2006/relationships/tags" Target="../tags/tag508.xml"/><Relationship Id="rId41" Type="http://schemas.openxmlformats.org/officeDocument/2006/relationships/oleObject" Target="../embeddings/oleObject65.bin"/><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503.xml"/><Relationship Id="rId32" Type="http://schemas.openxmlformats.org/officeDocument/2006/relationships/tags" Target="../tags/tag511.xml"/><Relationship Id="rId37" Type="http://schemas.openxmlformats.org/officeDocument/2006/relationships/tags" Target="../tags/tag516.xml"/><Relationship Id="rId40" Type="http://schemas.openxmlformats.org/officeDocument/2006/relationships/tags" Target="../tags/tag519.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502.xml"/><Relationship Id="rId28" Type="http://schemas.openxmlformats.org/officeDocument/2006/relationships/tags" Target="../tags/tag507.xml"/><Relationship Id="rId36" Type="http://schemas.openxmlformats.org/officeDocument/2006/relationships/tags" Target="../tags/tag515.xml"/><Relationship Id="rId10" Type="http://schemas.openxmlformats.org/officeDocument/2006/relationships/slideLayout" Target="../slideLayouts/slideLayout71.xml"/><Relationship Id="rId19" Type="http://schemas.openxmlformats.org/officeDocument/2006/relationships/tags" Target="../tags/tag498.xml"/><Relationship Id="rId31" Type="http://schemas.openxmlformats.org/officeDocument/2006/relationships/tags" Target="../tags/tag51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ags" Target="../tags/tag501.xml"/><Relationship Id="rId27" Type="http://schemas.openxmlformats.org/officeDocument/2006/relationships/tags" Target="../tags/tag506.xml"/><Relationship Id="rId30" Type="http://schemas.openxmlformats.org/officeDocument/2006/relationships/tags" Target="../tags/tag509.xml"/><Relationship Id="rId35" Type="http://schemas.openxmlformats.org/officeDocument/2006/relationships/tags" Target="../tags/tag5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ags" Target="../tags/tag633.xml"/><Relationship Id="rId26" Type="http://schemas.openxmlformats.org/officeDocument/2006/relationships/tags" Target="../tags/tag641.xml"/><Relationship Id="rId3" Type="http://schemas.openxmlformats.org/officeDocument/2006/relationships/slideLayout" Target="../slideLayouts/slideLayout81.xml"/><Relationship Id="rId21" Type="http://schemas.openxmlformats.org/officeDocument/2006/relationships/tags" Target="../tags/tag636.xml"/><Relationship Id="rId34" Type="http://schemas.openxmlformats.org/officeDocument/2006/relationships/tags" Target="../tags/tag64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ags" Target="../tags/tag632.xml"/><Relationship Id="rId25" Type="http://schemas.openxmlformats.org/officeDocument/2006/relationships/tags" Target="../tags/tag640.xml"/><Relationship Id="rId33" Type="http://schemas.openxmlformats.org/officeDocument/2006/relationships/tags" Target="../tags/tag648.xml"/><Relationship Id="rId38"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tags" Target="../tags/tag631.xml"/><Relationship Id="rId20" Type="http://schemas.openxmlformats.org/officeDocument/2006/relationships/tags" Target="../tags/tag635.xml"/><Relationship Id="rId29" Type="http://schemas.openxmlformats.org/officeDocument/2006/relationships/tags" Target="../tags/tag64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639.xml"/><Relationship Id="rId32" Type="http://schemas.openxmlformats.org/officeDocument/2006/relationships/tags" Target="../tags/tag647.xml"/><Relationship Id="rId37" Type="http://schemas.openxmlformats.org/officeDocument/2006/relationships/oleObject" Target="../embeddings/oleObject81.bin"/><Relationship Id="rId5" Type="http://schemas.openxmlformats.org/officeDocument/2006/relationships/slideLayout" Target="../slideLayouts/slideLayout83.xml"/><Relationship Id="rId15" Type="http://schemas.openxmlformats.org/officeDocument/2006/relationships/theme" Target="../theme/theme6.xml"/><Relationship Id="rId23" Type="http://schemas.openxmlformats.org/officeDocument/2006/relationships/tags" Target="../tags/tag638.xml"/><Relationship Id="rId28" Type="http://schemas.openxmlformats.org/officeDocument/2006/relationships/tags" Target="../tags/tag643.xml"/><Relationship Id="rId36" Type="http://schemas.openxmlformats.org/officeDocument/2006/relationships/tags" Target="../tags/tag651.xml"/><Relationship Id="rId10" Type="http://schemas.openxmlformats.org/officeDocument/2006/relationships/slideLayout" Target="../slideLayouts/slideLayout88.xml"/><Relationship Id="rId19" Type="http://schemas.openxmlformats.org/officeDocument/2006/relationships/tags" Target="../tags/tag634.xml"/><Relationship Id="rId31" Type="http://schemas.openxmlformats.org/officeDocument/2006/relationships/tags" Target="../tags/tag646.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tags" Target="../tags/tag637.xml"/><Relationship Id="rId27" Type="http://schemas.openxmlformats.org/officeDocument/2006/relationships/tags" Target="../tags/tag642.xml"/><Relationship Id="rId30" Type="http://schemas.openxmlformats.org/officeDocument/2006/relationships/tags" Target="../tags/tag645.xml"/><Relationship Id="rId35" Type="http://schemas.openxmlformats.org/officeDocument/2006/relationships/tags" Target="../tags/tag6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tags" Target="../tags/tag746.xml"/><Relationship Id="rId26" Type="http://schemas.openxmlformats.org/officeDocument/2006/relationships/tags" Target="../tags/tag754.xml"/><Relationship Id="rId39" Type="http://schemas.openxmlformats.org/officeDocument/2006/relationships/oleObject" Target="../embeddings/oleObject96.bin"/><Relationship Id="rId3" Type="http://schemas.openxmlformats.org/officeDocument/2006/relationships/slideLayout" Target="../slideLayouts/slideLayout95.xml"/><Relationship Id="rId21" Type="http://schemas.openxmlformats.org/officeDocument/2006/relationships/tags" Target="../tags/tag749.xml"/><Relationship Id="rId34" Type="http://schemas.openxmlformats.org/officeDocument/2006/relationships/tags" Target="../tags/tag762.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tags" Target="../tags/tag745.xml"/><Relationship Id="rId25" Type="http://schemas.openxmlformats.org/officeDocument/2006/relationships/tags" Target="../tags/tag753.xml"/><Relationship Id="rId33" Type="http://schemas.openxmlformats.org/officeDocument/2006/relationships/tags" Target="../tags/tag761.xml"/><Relationship Id="rId38" Type="http://schemas.openxmlformats.org/officeDocument/2006/relationships/tags" Target="../tags/tag766.xml"/><Relationship Id="rId2" Type="http://schemas.openxmlformats.org/officeDocument/2006/relationships/slideLayout" Target="../slideLayouts/slideLayout94.xml"/><Relationship Id="rId16" Type="http://schemas.openxmlformats.org/officeDocument/2006/relationships/theme" Target="../theme/theme7.xml"/><Relationship Id="rId20" Type="http://schemas.openxmlformats.org/officeDocument/2006/relationships/tags" Target="../tags/tag748.xml"/><Relationship Id="rId29" Type="http://schemas.openxmlformats.org/officeDocument/2006/relationships/tags" Target="../tags/tag75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tags" Target="../tags/tag752.xml"/><Relationship Id="rId32" Type="http://schemas.openxmlformats.org/officeDocument/2006/relationships/tags" Target="../tags/tag760.xml"/><Relationship Id="rId37" Type="http://schemas.openxmlformats.org/officeDocument/2006/relationships/tags" Target="../tags/tag765.xml"/><Relationship Id="rId40" Type="http://schemas.openxmlformats.org/officeDocument/2006/relationships/image" Target="../media/image1.emf"/><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ags" Target="../tags/tag751.xml"/><Relationship Id="rId28" Type="http://schemas.openxmlformats.org/officeDocument/2006/relationships/tags" Target="../tags/tag756.xml"/><Relationship Id="rId36" Type="http://schemas.openxmlformats.org/officeDocument/2006/relationships/tags" Target="../tags/tag764.xml"/><Relationship Id="rId10" Type="http://schemas.openxmlformats.org/officeDocument/2006/relationships/slideLayout" Target="../slideLayouts/slideLayout102.xml"/><Relationship Id="rId19" Type="http://schemas.openxmlformats.org/officeDocument/2006/relationships/tags" Target="../tags/tag747.xml"/><Relationship Id="rId31" Type="http://schemas.openxmlformats.org/officeDocument/2006/relationships/tags" Target="../tags/tag759.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tags" Target="../tags/tag750.xml"/><Relationship Id="rId27" Type="http://schemas.openxmlformats.org/officeDocument/2006/relationships/tags" Target="../tags/tag755.xml"/><Relationship Id="rId30" Type="http://schemas.openxmlformats.org/officeDocument/2006/relationships/tags" Target="../tags/tag758.xml"/><Relationship Id="rId35" Type="http://schemas.openxmlformats.org/officeDocument/2006/relationships/tags" Target="../tags/tag7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7"/>
            </p:custDataLst>
            <p:extLst>
              <p:ext uri="{D42A27DB-BD31-4B8C-83A1-F6EECF244321}">
                <p14:modId xmlns:p14="http://schemas.microsoft.com/office/powerpoint/2010/main" val="2288467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72" imgH="588" progId="TCLayout.ActiveDocument.1">
                  <p:embed/>
                </p:oleObj>
              </mc:Choice>
              <mc:Fallback>
                <p:oleObj name="think-cell Slide" r:id="rId39"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9"/>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0"/>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1"/>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2"/>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5" r:id="rId2"/>
    <p:sldLayoutId id="2147483654"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879" r:id="rId13"/>
    <p:sldLayoutId id="2147483859" r:id="rId14"/>
    <p:sldLayoutId id="2147483718" r:id="rId15"/>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5497" userDrawn="1">
          <p15:clr>
            <a:srgbClr val="F26B43"/>
          </p15:clr>
        </p15:guide>
        <p15:guide id="6" pos="259" userDrawn="1">
          <p15:clr>
            <a:srgbClr val="F26B43"/>
          </p15:clr>
        </p15:guide>
        <p15:guide id="8" orient="horz" pos="40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DF5077A-B40D-49E9-B6CD-930C85878227}"/>
              </a:ext>
            </a:extLst>
          </p:cNvPr>
          <p:cNvGraphicFramePr>
            <a:graphicFrameLocks noChangeAspect="1"/>
          </p:cNvGraphicFramePr>
          <p:nvPr userDrawn="1">
            <p:custDataLst>
              <p:tags r:id="rId16"/>
            </p:custDataLst>
            <p:extLst>
              <p:ext uri="{D42A27DB-BD31-4B8C-83A1-F6EECF244321}">
                <p14:modId xmlns:p14="http://schemas.microsoft.com/office/powerpoint/2010/main" val="328520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4" name="Object 2" hidden="1">
                        <a:extLst>
                          <a:ext uri="{FF2B5EF4-FFF2-40B4-BE49-F238E27FC236}">
                            <a16:creationId xmlns:a16="http://schemas.microsoft.com/office/drawing/2014/main" id="{ADF5077A-B40D-49E9-B6CD-930C858782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29A6C57F-0DCF-49B4-A828-5C29D59227EA}"/>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5" name="4. Footnote" hidden="1">
            <a:extLst>
              <a:ext uri="{FF2B5EF4-FFF2-40B4-BE49-F238E27FC236}">
                <a16:creationId xmlns:a16="http://schemas.microsoft.com/office/drawing/2014/main" id="{58B91ABE-1EA4-4D33-B527-A7280E439CFF}"/>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dirty="0"/>
              <a:t>Click to edit Master title style</a:t>
            </a:r>
          </a:p>
        </p:txBody>
      </p:sp>
      <p:grpSp>
        <p:nvGrpSpPr>
          <p:cNvPr id="58" name="Grid" hidden="1">
            <a:extLst>
              <a:ext uri="{FF2B5EF4-FFF2-40B4-BE49-F238E27FC236}">
                <a16:creationId xmlns:a16="http://schemas.microsoft.com/office/drawing/2014/main" id="{9649E640-8714-440D-BDAF-B74AB2A6EB66}"/>
              </a:ext>
            </a:extLst>
          </p:cNvPr>
          <p:cNvGrpSpPr/>
          <p:nvPr userDrawn="1">
            <p:custDataLst>
              <p:tags r:id="rId20"/>
            </p:custDataLst>
          </p:nvPr>
        </p:nvGrpSpPr>
        <p:grpSpPr bwMode="blackGray">
          <a:xfrm>
            <a:off x="1" y="0"/>
            <a:ext cx="9142857" cy="6858000"/>
            <a:chOff x="0" y="0"/>
            <a:chExt cx="12190476" cy="6858000"/>
          </a:xfrm>
        </p:grpSpPr>
        <p:sp>
          <p:nvSpPr>
            <p:cNvPr id="59" name="slide margin">
              <a:extLst>
                <a:ext uri="{FF2B5EF4-FFF2-40B4-BE49-F238E27FC236}">
                  <a16:creationId xmlns:a16="http://schemas.microsoft.com/office/drawing/2014/main" id="{66BB9FB9-B527-4EA5-83E9-7FDE924D3C75}"/>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60" name="Straight Connector 59">
              <a:extLst>
                <a:ext uri="{FF2B5EF4-FFF2-40B4-BE49-F238E27FC236}">
                  <a16:creationId xmlns:a16="http://schemas.microsoft.com/office/drawing/2014/main" id="{8EFC78F4-BB47-4C26-840A-A2D68F34CF9A}"/>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2F5785C-C55D-4A5B-94B1-A7504E6345A3}"/>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B889190-9120-4340-9EE8-A654DCFF8459}"/>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5BB4D90-C72C-4E0A-92CA-007742073F5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96C0A8-EFE0-4D82-96BE-7FFBB1703A70}"/>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925DEC6-918B-49B3-A9A8-BE331C03D2A9}"/>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D9F0483-2B10-44EE-9292-7184C12AA561}"/>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974E10B-01C5-4F88-85DA-20BB11CE7185}"/>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FE0C66F-6B8B-4D99-A75F-AF5E16734EE0}"/>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0BC9EDD-7DE6-4BFD-B8BA-096FC68547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A68F5E3-97AE-485D-95D6-E376CCAA9FD2}"/>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7F5461A-5DFF-411F-8D51-6D8A8D41633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2" name="Freeform: Shape 71">
              <a:extLst>
                <a:ext uri="{FF2B5EF4-FFF2-40B4-BE49-F238E27FC236}">
                  <a16:creationId xmlns:a16="http://schemas.microsoft.com/office/drawing/2014/main" id="{D6EB1BED-78CC-4D32-B9EC-365F21E504C5}"/>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66B2B0CE-BED2-4A8E-B976-7A60F64DFC00}"/>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E56C1226-B98B-4EDB-9E6A-6B515D35770B}"/>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8EA0791D-4B6C-4906-9CFA-B55A0B320381}"/>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62F2EF8E-4944-4213-BD0D-5970084500D6}"/>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D9016A2A-6D82-40E7-8018-47D0C07AA5BD}"/>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66FD7100-EF42-45BD-94B5-613A2F04C185}"/>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603E0798-63B3-4C27-8EBF-F386A83E6517}"/>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9137967C-7A1F-4023-8A97-0F07821B33BE}"/>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98B56E15-B97E-4FAE-B8E8-EDCF6CC9707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E9E2D6A-37E4-4841-8D15-5B45C43CF7CB}"/>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AE4FE627-0370-4AA8-B4DE-A569CDE73DB0}"/>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DEC52A46-4F00-45B8-B38F-F07F7F22AB22}"/>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19E3B94A-3673-41A7-9697-CE5C4EE0F9A4}"/>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F1D190D1-CF33-4B30-AF55-DFDB9C0BB517}"/>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48F080D0-64C3-40E2-99B4-0D09EA5F0D04}"/>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13C25522-509A-4F8D-9939-5FA7AE7F2ECA}"/>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32528FF8-649D-413B-9158-202C45C3D702}"/>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420C7226-6F28-47F6-A367-D463497FBBC1}"/>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61603A5D-A8DF-4F11-9413-9609B7239201}"/>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01263FD4-650A-474B-ADA5-6E5DE2E7B75F}"/>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3" name="Freeform: Shape 92">
              <a:extLst>
                <a:ext uri="{FF2B5EF4-FFF2-40B4-BE49-F238E27FC236}">
                  <a16:creationId xmlns:a16="http://schemas.microsoft.com/office/drawing/2014/main" id="{13692E4C-571A-4A8A-BFAD-1628979B77C0}"/>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4" name="Freeform: Shape 93">
              <a:extLst>
                <a:ext uri="{FF2B5EF4-FFF2-40B4-BE49-F238E27FC236}">
                  <a16:creationId xmlns:a16="http://schemas.microsoft.com/office/drawing/2014/main" id="{2D3326C5-787B-4AFF-8F81-410A4B4FACB5}"/>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5" name="Freeform: Shape 94">
              <a:extLst>
                <a:ext uri="{FF2B5EF4-FFF2-40B4-BE49-F238E27FC236}">
                  <a16:creationId xmlns:a16="http://schemas.microsoft.com/office/drawing/2014/main" id="{053A6D0A-9EAC-478A-99B1-907537C49B56}"/>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6" name="Freeform: Shape 95">
              <a:extLst>
                <a:ext uri="{FF2B5EF4-FFF2-40B4-BE49-F238E27FC236}">
                  <a16:creationId xmlns:a16="http://schemas.microsoft.com/office/drawing/2014/main" id="{B6B81E14-5348-4227-99A4-CF914719ACFC}"/>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7" name="Straight Connector 96">
              <a:extLst>
                <a:ext uri="{FF2B5EF4-FFF2-40B4-BE49-F238E27FC236}">
                  <a16:creationId xmlns:a16="http://schemas.microsoft.com/office/drawing/2014/main" id="{143F8F32-7929-442F-8BB7-C0C66FB90D55}"/>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C9B89D8-9CD1-41D4-AC34-E9A57C6FFEBA}"/>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4B0C090-3EFB-46F4-8DBC-1839EC90FCDF}"/>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75AF502-AF31-4C6C-A53B-8AEE06C3C7FB}"/>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212CA46-8F32-40B5-A0D8-FC16417D9371}"/>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3B21382-0085-4175-8AC0-F94DFA036D94}"/>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07B38DD-D005-464C-8AB2-BF535814140D}"/>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0CF34C7-8B28-4604-A373-40B4C721B966}"/>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900DA3F-2486-492C-B7B2-1E663023D25F}"/>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948A37-4236-499A-A949-85D8B19E30AB}"/>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CA5E68F8-CB8E-40D8-90FB-3603AF503419}"/>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7621762-8D65-416D-A587-2C2334BE7047}"/>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98D364B-A4C9-43E1-8D85-C5CC616BC6B5}"/>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9931614-E06C-4E43-A98F-E5FF3D9E39C4}"/>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5966B1F-DD62-45E3-B328-3DBD775B42FA}"/>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DEB7800-7AC2-4538-8AE8-F911639FD427}"/>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A115FB2-DC4D-436A-8063-FF137CAE6389}"/>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98FF541-9EB3-49B1-897B-D336CCA567B8}"/>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260A649-3D6D-4BC6-946A-6928B95F81CC}"/>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8BE56A6-B42B-4B9C-90E3-84B14199434E}"/>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C4EC45F3-37D7-44EE-A849-842E1535952B}"/>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58631F1-B7AA-40DE-B525-55DB7146B7C0}"/>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51C7B3B-ADBB-43C5-82F1-FE1246B1F92D}"/>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5CE7C2D-DFB0-4C7E-AFFB-827F7DC37F45}"/>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70C15565-1864-42C1-8791-4CA22CD27A7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37EAB08-5991-46B9-A2EF-524961B3F21E}"/>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E2CEF5-BAA6-4E34-B91C-7AA2E535007E}"/>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B41CC35-5CAF-4787-92BC-2280B3D7C5A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36BAFFA-3892-4930-BEDC-F5374DF3C70C}"/>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F40D988-40F2-4D98-8536-F98F87FECD78}"/>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37C48DC-629B-488D-A8BA-827B057FF370}"/>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7FBAB12-8763-4178-A84F-1AC12282F22B}"/>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B4E1970-E83D-41AA-A923-1370D54AA2E3}"/>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ACBBE67-427E-45ED-BE57-9DCFD90768BB}"/>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EB291A1-7CB7-4CC7-A0AF-92DE6363D415}"/>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E207257-9E01-42E0-9B60-49057E56A267}"/>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BE46D29A-3863-4E5B-AACA-73AD1278E6E0}"/>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BCDEE12-5C12-4C99-9776-AD55011F32D9}"/>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8F4A8FC-962B-4CFC-B40A-5BB4703635C6}"/>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B60DD79-5964-4499-8116-CE245C9F9726}"/>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DAE6510-8C95-4A68-B84B-98F6C980AF4D}"/>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CB38C0C-133A-46B0-AFF7-3BB73278AE29}"/>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0B8911-0E96-49A4-A77E-E1CBF561D651}"/>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4B3128C-44A7-4090-B140-13F329C65E5F}"/>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2" name="main body box">
              <a:extLst>
                <a:ext uri="{FF2B5EF4-FFF2-40B4-BE49-F238E27FC236}">
                  <a16:creationId xmlns:a16="http://schemas.microsoft.com/office/drawing/2014/main" id="{971F9B34-45CC-49E1-8D54-75CCE459F143}"/>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43" name="Straight Connector 142">
              <a:extLst>
                <a:ext uri="{FF2B5EF4-FFF2-40B4-BE49-F238E27FC236}">
                  <a16:creationId xmlns:a16="http://schemas.microsoft.com/office/drawing/2014/main" id="{4975051F-B1E9-4B77-B1CE-656C40400806}"/>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4" name="Straight Connector 143">
              <a:extLst>
                <a:ext uri="{FF2B5EF4-FFF2-40B4-BE49-F238E27FC236}">
                  <a16:creationId xmlns:a16="http://schemas.microsoft.com/office/drawing/2014/main" id="{11499B0E-A65F-4C3C-9EF2-ACEEFC52BA10}"/>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79" name="Sticker" hidden="1">
            <a:extLst>
              <a:ext uri="{FF2B5EF4-FFF2-40B4-BE49-F238E27FC236}">
                <a16:creationId xmlns:a16="http://schemas.microsoft.com/office/drawing/2014/main" id="{D5A3AED6-095A-4E0F-BBC2-F64956A5A35F}"/>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81" name="Text Placeholder 2">
            <a:extLst>
              <a:ext uri="{FF2B5EF4-FFF2-40B4-BE49-F238E27FC236}">
                <a16:creationId xmlns:a16="http://schemas.microsoft.com/office/drawing/2014/main" id="{7250CB3F-D950-40B0-AE7A-A36A3C1D43B7}"/>
              </a:ext>
            </a:extLst>
          </p:cNvPr>
          <p:cNvSpPr>
            <a:spLocks noGrp="1"/>
          </p:cNvSpPr>
          <p:nvPr>
            <p:ph type="body" idx="1"/>
          </p:nvPr>
        </p:nvSpPr>
        <p:spPr>
          <a:xfrm>
            <a:off x="415925" y="2155825"/>
            <a:ext cx="2168863" cy="1446550"/>
          </a:xfrm>
          <a:prstGeom prst="rect">
            <a:avLst/>
          </a:prstGeom>
        </p:spPr>
        <p:txBody>
          <a:bodyPr vert="horz" wrap="square" lIns="0" tIns="0" rIns="0" bIns="0" rtlCol="0">
            <a:spAutoFit/>
          </a:bodyPr>
          <a:lstStyle/>
          <a:p>
            <a:pPr lvl="0"/>
            <a:r>
              <a:rPr lang="en-US" dirty="0"/>
              <a:t>Click to edit Master text styles</a:t>
            </a:r>
          </a:p>
          <a:p>
            <a:pPr marL="228600" lvl="1" indent="-225425" algn="l" defTabSz="914400" rtl="0" eaLnBrk="1" latinLnBrk="0" hangingPunct="1">
              <a:lnSpc>
                <a:spcPct val="100000"/>
              </a:lnSpc>
              <a:spcBef>
                <a:spcPts val="0"/>
              </a:spcBef>
              <a:spcAft>
                <a:spcPts val="300"/>
              </a:spcAft>
              <a:buSzPct val="110000"/>
              <a:buFont typeface="Wingdings" panose="05000000000000000000" pitchFamily="2" charset="2"/>
              <a:buChar char=""/>
            </a:pPr>
            <a:r>
              <a:rPr lang="en-US" dirty="0"/>
              <a:t>Second level</a:t>
            </a:r>
          </a:p>
          <a:p>
            <a:pPr marL="442913" lvl="2" indent="-214313" algn="l" defTabSz="914400" rtl="0" eaLnBrk="1" latinLnBrk="0" hangingPunct="1">
              <a:lnSpc>
                <a:spcPct val="100000"/>
              </a:lnSpc>
              <a:spcBef>
                <a:spcPts val="0"/>
              </a:spcBef>
              <a:spcAft>
                <a:spcPts val="300"/>
              </a:spcAft>
              <a:buSzPct val="110000"/>
              <a:buFont typeface="Arial" panose="020B0604020202020204" pitchFamily="34" charset="0"/>
              <a:buChar char="‒"/>
            </a:pPr>
            <a:r>
              <a:rPr lang="en-US" dirty="0"/>
              <a:t>Third level</a:t>
            </a:r>
          </a:p>
          <a:p>
            <a:pPr marL="598488" lvl="3" indent="-152400" algn="l" defTabSz="914400" rtl="0" eaLnBrk="1" latinLnBrk="0" hangingPunct="1">
              <a:lnSpc>
                <a:spcPct val="100000"/>
              </a:lnSpc>
              <a:spcBef>
                <a:spcPts val="0"/>
              </a:spcBef>
              <a:spcAft>
                <a:spcPts val="300"/>
              </a:spcAft>
              <a:buFont typeface="Arial" panose="020B0604020202020204" pitchFamily="34" charset="0"/>
              <a:buChar char="•"/>
            </a:pPr>
            <a:r>
              <a:rPr lang="en-US" dirty="0"/>
              <a:t>Fourth level</a:t>
            </a:r>
          </a:p>
          <a:p>
            <a:pPr marL="817563" lvl="4" indent="-147638" algn="l" defTabSz="914400" rtl="0" eaLnBrk="1" latinLnBrk="0" hangingPunct="1">
              <a:lnSpc>
                <a:spcPct val="100000"/>
              </a:lnSpc>
              <a:spcBef>
                <a:spcPts val="0"/>
              </a:spcBef>
              <a:spcAft>
                <a:spcPts val="300"/>
              </a:spcAft>
              <a:buSzPct val="100000"/>
              <a:buFont typeface="Arial" panose="020B0604020202020204" pitchFamily="34" charset="0"/>
              <a:buChar char="̶"/>
            </a:pPr>
            <a:r>
              <a:rPr lang="en-US" dirty="0"/>
              <a:t>Fifth level</a:t>
            </a:r>
          </a:p>
        </p:txBody>
      </p:sp>
      <p:sp>
        <p:nvSpPr>
          <p:cNvPr id="148" name="ACET" hidden="1">
            <a:extLst>
              <a:ext uri="{FF2B5EF4-FFF2-40B4-BE49-F238E27FC236}">
                <a16:creationId xmlns:a16="http://schemas.microsoft.com/office/drawing/2014/main" id="{E2A40DA4-2968-440F-8EF9-A748702F6C09}"/>
              </a:ext>
            </a:extLst>
          </p:cNvPr>
          <p:cNvSpPr txBox="1"/>
          <p:nvPr userDrawn="1">
            <p:custDataLst>
              <p:tags r:id="rId21"/>
            </p:custDataLst>
          </p:nvPr>
        </p:nvSpPr>
        <p:spPr>
          <a:xfrm>
            <a:off x="415925" y="2133600"/>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grpSp>
        <p:nvGrpSpPr>
          <p:cNvPr id="146" name="LegendBoxes" hidden="1">
            <a:extLst>
              <a:ext uri="{FF2B5EF4-FFF2-40B4-BE49-F238E27FC236}">
                <a16:creationId xmlns:a16="http://schemas.microsoft.com/office/drawing/2014/main" id="{E0A09D9C-D3DD-4743-8AAB-92B033D79258}"/>
              </a:ext>
            </a:extLst>
          </p:cNvPr>
          <p:cNvGrpSpPr/>
          <p:nvPr userDrawn="1"/>
        </p:nvGrpSpPr>
        <p:grpSpPr>
          <a:xfrm>
            <a:off x="7892047" y="4340399"/>
            <a:ext cx="835901" cy="1686504"/>
            <a:chOff x="7756825" y="4379430"/>
            <a:chExt cx="835901" cy="1686504"/>
          </a:xfrm>
        </p:grpSpPr>
        <p:sp>
          <p:nvSpPr>
            <p:cNvPr id="170" name="RectangleLegend1">
              <a:extLst>
                <a:ext uri="{FF2B5EF4-FFF2-40B4-BE49-F238E27FC236}">
                  <a16:creationId xmlns:a16="http://schemas.microsoft.com/office/drawing/2014/main" id="{88A1A98E-82C7-42FC-B1A4-DFC0CB3162DC}"/>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71" name="RectangleLegend2">
              <a:extLst>
                <a:ext uri="{FF2B5EF4-FFF2-40B4-BE49-F238E27FC236}">
                  <a16:creationId xmlns:a16="http://schemas.microsoft.com/office/drawing/2014/main" id="{9C048AB1-C464-4D6F-8542-20BB621C3951}"/>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72" name="RectangleLegend3">
              <a:extLst>
                <a:ext uri="{FF2B5EF4-FFF2-40B4-BE49-F238E27FC236}">
                  <a16:creationId xmlns:a16="http://schemas.microsoft.com/office/drawing/2014/main" id="{72798CE4-73A9-4948-B732-0FD23AA43B71}"/>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0" name="RectangleLegend4">
              <a:extLst>
                <a:ext uri="{FF2B5EF4-FFF2-40B4-BE49-F238E27FC236}">
                  <a16:creationId xmlns:a16="http://schemas.microsoft.com/office/drawing/2014/main" id="{9229CD5B-B0FB-4386-8A71-B426DB05803D}"/>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2" name="RectangleLegend5">
              <a:extLst>
                <a:ext uri="{FF2B5EF4-FFF2-40B4-BE49-F238E27FC236}">
                  <a16:creationId xmlns:a16="http://schemas.microsoft.com/office/drawing/2014/main" id="{EBBB8262-1858-4898-9E36-00D0CE90C681}"/>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3" name="Legend1">
              <a:extLst>
                <a:ext uri="{FF2B5EF4-FFF2-40B4-BE49-F238E27FC236}">
                  <a16:creationId xmlns:a16="http://schemas.microsoft.com/office/drawing/2014/main" id="{690BCB96-7AFD-491F-A0D7-8C9687DC0B8E}"/>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4" name="Legend2">
              <a:extLst>
                <a:ext uri="{FF2B5EF4-FFF2-40B4-BE49-F238E27FC236}">
                  <a16:creationId xmlns:a16="http://schemas.microsoft.com/office/drawing/2014/main" id="{6631EB21-9D00-4FBD-94AF-A25EAFEBB9CF}"/>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5" name="Legend3">
              <a:extLst>
                <a:ext uri="{FF2B5EF4-FFF2-40B4-BE49-F238E27FC236}">
                  <a16:creationId xmlns:a16="http://schemas.microsoft.com/office/drawing/2014/main" id="{46AC9C09-CF67-4EBE-B41B-1B4F52F66DEE}"/>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6" name="Legend4">
              <a:extLst>
                <a:ext uri="{FF2B5EF4-FFF2-40B4-BE49-F238E27FC236}">
                  <a16:creationId xmlns:a16="http://schemas.microsoft.com/office/drawing/2014/main" id="{AED040D5-B940-4CD6-AADF-D6523BA11478}"/>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7" name="Legend5">
              <a:extLst>
                <a:ext uri="{FF2B5EF4-FFF2-40B4-BE49-F238E27FC236}">
                  <a16:creationId xmlns:a16="http://schemas.microsoft.com/office/drawing/2014/main" id="{52D09B84-696F-4924-9269-DCE81E7805E6}"/>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88" name="LegendLines" hidden="1">
            <a:extLst>
              <a:ext uri="{FF2B5EF4-FFF2-40B4-BE49-F238E27FC236}">
                <a16:creationId xmlns:a16="http://schemas.microsoft.com/office/drawing/2014/main" id="{151703DE-CFCE-4548-825F-C0AE80B43A82}"/>
              </a:ext>
            </a:extLst>
          </p:cNvPr>
          <p:cNvGrpSpPr/>
          <p:nvPr userDrawn="1"/>
        </p:nvGrpSpPr>
        <p:grpSpPr>
          <a:xfrm>
            <a:off x="7601970" y="3209317"/>
            <a:ext cx="1125978" cy="927508"/>
            <a:chOff x="7495285" y="2250552"/>
            <a:chExt cx="1125978" cy="927508"/>
          </a:xfrm>
        </p:grpSpPr>
        <p:sp>
          <p:nvSpPr>
            <p:cNvPr id="189" name="Legend1">
              <a:extLst>
                <a:ext uri="{FF2B5EF4-FFF2-40B4-BE49-F238E27FC236}">
                  <a16:creationId xmlns:a16="http://schemas.microsoft.com/office/drawing/2014/main" id="{B11C0E3E-1598-4BDF-A6AD-638C23A0834B}"/>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0" name="Legend2">
              <a:extLst>
                <a:ext uri="{FF2B5EF4-FFF2-40B4-BE49-F238E27FC236}">
                  <a16:creationId xmlns:a16="http://schemas.microsoft.com/office/drawing/2014/main" id="{2649E328-C652-4C95-8812-29D30433774C}"/>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1" name="Legend3">
              <a:extLst>
                <a:ext uri="{FF2B5EF4-FFF2-40B4-BE49-F238E27FC236}">
                  <a16:creationId xmlns:a16="http://schemas.microsoft.com/office/drawing/2014/main" id="{C4CE84D4-139F-41DF-B0D0-885FDBBEC903}"/>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2" name="LineLegend3">
              <a:extLst>
                <a:ext uri="{FF2B5EF4-FFF2-40B4-BE49-F238E27FC236}">
                  <a16:creationId xmlns:a16="http://schemas.microsoft.com/office/drawing/2014/main" id="{47146DE1-2652-4995-8E31-5E4D0DF1299F}"/>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sp>
          <p:nvSpPr>
            <p:cNvPr id="193" name="LineLegend2">
              <a:extLst>
                <a:ext uri="{FF2B5EF4-FFF2-40B4-BE49-F238E27FC236}">
                  <a16:creationId xmlns:a16="http://schemas.microsoft.com/office/drawing/2014/main" id="{064840E9-E668-4FB9-8155-45041706FB60}"/>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sp>
          <p:nvSpPr>
            <p:cNvPr id="194" name="LineLegend1">
              <a:extLst>
                <a:ext uri="{FF2B5EF4-FFF2-40B4-BE49-F238E27FC236}">
                  <a16:creationId xmlns:a16="http://schemas.microsoft.com/office/drawing/2014/main" id="{9781F686-7F56-4F84-95A4-CE611F695364}"/>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grpSp>
      <p:grpSp>
        <p:nvGrpSpPr>
          <p:cNvPr id="195" name="LegendMoons" hidden="1">
            <a:extLst>
              <a:ext uri="{FF2B5EF4-FFF2-40B4-BE49-F238E27FC236}">
                <a16:creationId xmlns:a16="http://schemas.microsoft.com/office/drawing/2014/main" id="{76210C5F-BCAF-41E4-882C-D8F83DEBB10A}"/>
              </a:ext>
            </a:extLst>
          </p:cNvPr>
          <p:cNvGrpSpPr/>
          <p:nvPr userDrawn="1"/>
        </p:nvGrpSpPr>
        <p:grpSpPr>
          <a:xfrm>
            <a:off x="7865561" y="1289273"/>
            <a:ext cx="862387" cy="1731859"/>
            <a:chOff x="7723680" y="1702457"/>
            <a:chExt cx="862387" cy="1731859"/>
          </a:xfrm>
        </p:grpSpPr>
        <p:sp>
          <p:nvSpPr>
            <p:cNvPr id="196" name="Legend1">
              <a:extLst>
                <a:ext uri="{FF2B5EF4-FFF2-40B4-BE49-F238E27FC236}">
                  <a16:creationId xmlns:a16="http://schemas.microsoft.com/office/drawing/2014/main" id="{E69A0B3A-CBDC-43DC-B25C-92877F56162D}"/>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7" name="Legend2">
              <a:extLst>
                <a:ext uri="{FF2B5EF4-FFF2-40B4-BE49-F238E27FC236}">
                  <a16:creationId xmlns:a16="http://schemas.microsoft.com/office/drawing/2014/main" id="{BA11DA3E-0006-45D3-B28B-28A0D00149F6}"/>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8" name="Legend3">
              <a:extLst>
                <a:ext uri="{FF2B5EF4-FFF2-40B4-BE49-F238E27FC236}">
                  <a16:creationId xmlns:a16="http://schemas.microsoft.com/office/drawing/2014/main" id="{B849E806-DD0E-4BD7-8815-B8CF18C58A5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9" name="Legend4">
              <a:extLst>
                <a:ext uri="{FF2B5EF4-FFF2-40B4-BE49-F238E27FC236}">
                  <a16:creationId xmlns:a16="http://schemas.microsoft.com/office/drawing/2014/main" id="{C3FE2AB4-2647-482F-89E1-54234E787BF4}"/>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0" name="Legend5">
              <a:extLst>
                <a:ext uri="{FF2B5EF4-FFF2-40B4-BE49-F238E27FC236}">
                  <a16:creationId xmlns:a16="http://schemas.microsoft.com/office/drawing/2014/main" id="{52E11976-AAE5-431F-8148-629907683956}"/>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1" name="MoonLegend1">
              <a:extLst>
                <a:ext uri="{FF2B5EF4-FFF2-40B4-BE49-F238E27FC236}">
                  <a16:creationId xmlns:a16="http://schemas.microsoft.com/office/drawing/2014/main" id="{6A7F292C-CAF1-4B26-B85A-993CE5F5557B}"/>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14CE8F70-B2B3-46A2-A9FF-EA4DC1E97A9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5" name="Arc 214">
                <a:extLst>
                  <a:ext uri="{FF2B5EF4-FFF2-40B4-BE49-F238E27FC236}">
                    <a16:creationId xmlns:a16="http://schemas.microsoft.com/office/drawing/2014/main" id="{DFF3186E-2B00-4CB3-A700-397F58BC947E}"/>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2" name="MoonLegend2">
              <a:extLst>
                <a:ext uri="{FF2B5EF4-FFF2-40B4-BE49-F238E27FC236}">
                  <a16:creationId xmlns:a16="http://schemas.microsoft.com/office/drawing/2014/main" id="{9BA1EC50-4DFE-4FA9-A23F-38CE89A6EB94}"/>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B6A12EC6-DFBC-4708-BA78-3045C5508A2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3" name="Arc 212">
                <a:extLst>
                  <a:ext uri="{FF2B5EF4-FFF2-40B4-BE49-F238E27FC236}">
                    <a16:creationId xmlns:a16="http://schemas.microsoft.com/office/drawing/2014/main" id="{4C823BE3-1604-4447-8577-F7828E2CD78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3" name="MoonLegend3">
              <a:extLst>
                <a:ext uri="{FF2B5EF4-FFF2-40B4-BE49-F238E27FC236}">
                  <a16:creationId xmlns:a16="http://schemas.microsoft.com/office/drawing/2014/main" id="{29FD19C6-DC25-4764-9BAD-ACE4E8B81D9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56F2E8B-B601-400A-A04F-4B6F4F73E59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1" name="Arc 210">
                <a:extLst>
                  <a:ext uri="{FF2B5EF4-FFF2-40B4-BE49-F238E27FC236}">
                    <a16:creationId xmlns:a16="http://schemas.microsoft.com/office/drawing/2014/main" id="{40999996-F0D2-4392-B4ED-25A1D8C6EA45}"/>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4" name="MoonLegend4">
              <a:extLst>
                <a:ext uri="{FF2B5EF4-FFF2-40B4-BE49-F238E27FC236}">
                  <a16:creationId xmlns:a16="http://schemas.microsoft.com/office/drawing/2014/main" id="{5613CAE3-3C31-4661-8B8D-144C0AE7AFD8}"/>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CE9C8AB-F5BC-4026-A579-844E168163D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9" name="Arc 208">
                <a:extLst>
                  <a:ext uri="{FF2B5EF4-FFF2-40B4-BE49-F238E27FC236}">
                    <a16:creationId xmlns:a16="http://schemas.microsoft.com/office/drawing/2014/main" id="{DD658BB3-0D67-4F45-9C75-3217C6908B5D}"/>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5" name="MoonLegend5">
              <a:extLst>
                <a:ext uri="{FF2B5EF4-FFF2-40B4-BE49-F238E27FC236}">
                  <a16:creationId xmlns:a16="http://schemas.microsoft.com/office/drawing/2014/main" id="{1CB34E80-8876-4528-8658-81B4BF41FB53}"/>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080E466-6273-41CA-8058-44982ED7380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7" name="Arc 206">
                <a:extLst>
                  <a:ext uri="{FF2B5EF4-FFF2-40B4-BE49-F238E27FC236}">
                    <a16:creationId xmlns:a16="http://schemas.microsoft.com/office/drawing/2014/main" id="{7C3F9581-221B-41E7-84E3-CCC248E9537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6" r:id="rId13"/>
    <p:sldLayoutId id="2147483878"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5497" userDrawn="1">
          <p15:clr>
            <a:srgbClr val="F26B43"/>
          </p15:clr>
        </p15:guide>
        <p15:guide id="6" pos="259" userDrawn="1">
          <p15:clr>
            <a:srgbClr val="F26B43"/>
          </p15:clr>
        </p15:guide>
        <p15:guide id="8" orient="horz" pos="40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72" imgH="588" progId="TCLayout.ActiveDocument.1">
                  <p:embed/>
                </p:oleObj>
              </mc:Choice>
              <mc:Fallback>
                <p:oleObj name="think-cell Slide" r:id="rId42"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2"/>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3"/>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4"/>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5"/>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6"/>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246605627"/>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4" r:id="rId17"/>
    <p:sldLayoutId id="2147483925"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1122304244"/>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9"/>
            </p:custDataLst>
            <p:extLst>
              <p:ext uri="{D42A27DB-BD31-4B8C-83A1-F6EECF244321}">
                <p14:modId xmlns:p14="http://schemas.microsoft.com/office/powerpoint/2010/main" val="35090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72" imgH="588" progId="TCLayout.ActiveDocument.1">
                  <p:embed/>
                </p:oleObj>
              </mc:Choice>
              <mc:Fallback>
                <p:oleObj name="think-cell Slide" r:id="rId41"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1"/>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2"/>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3"/>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4"/>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418648673"/>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extLst>
              <p:ext uri="{D42A27DB-BD31-4B8C-83A1-F6EECF244321}">
                <p14:modId xmlns:p14="http://schemas.microsoft.com/office/powerpoint/2010/main" val="3662179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2297826677"/>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7"/>
            </p:custDataLst>
            <p:extLst>
              <p:ext uri="{D42A27DB-BD31-4B8C-83A1-F6EECF244321}">
                <p14:modId xmlns:p14="http://schemas.microsoft.com/office/powerpoint/2010/main" val="1008111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72" imgH="588" progId="TCLayout.ActiveDocument.1">
                  <p:embed/>
                </p:oleObj>
              </mc:Choice>
              <mc:Fallback>
                <p:oleObj name="think-cell Slide" r:id="rId39"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9"/>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0"/>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1"/>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2"/>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1112310913"/>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80.xml"/><Relationship Id="rId7" Type="http://schemas.openxmlformats.org/officeDocument/2006/relationships/image" Target="../media/image6.emf"/><Relationship Id="rId2" Type="http://schemas.openxmlformats.org/officeDocument/2006/relationships/tags" Target="../tags/tag879.xml"/><Relationship Id="rId1" Type="http://schemas.openxmlformats.org/officeDocument/2006/relationships/tags" Target="../tags/tag878.xml"/><Relationship Id="rId6" Type="http://schemas.openxmlformats.org/officeDocument/2006/relationships/oleObject" Target="../embeddings/oleObject112.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883.xml"/><Relationship Id="rId7" Type="http://schemas.openxmlformats.org/officeDocument/2006/relationships/image" Target="../media/image6.emf"/><Relationship Id="rId2" Type="http://schemas.openxmlformats.org/officeDocument/2006/relationships/tags" Target="../tags/tag882.xml"/><Relationship Id="rId1" Type="http://schemas.openxmlformats.org/officeDocument/2006/relationships/tags" Target="../tags/tag881.xml"/><Relationship Id="rId6" Type="http://schemas.openxmlformats.org/officeDocument/2006/relationships/oleObject" Target="../embeddings/oleObject113.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886.xml"/><Relationship Id="rId7" Type="http://schemas.openxmlformats.org/officeDocument/2006/relationships/image" Target="../media/image6.emf"/><Relationship Id="rId2" Type="http://schemas.openxmlformats.org/officeDocument/2006/relationships/tags" Target="../tags/tag885.xml"/><Relationship Id="rId1" Type="http://schemas.openxmlformats.org/officeDocument/2006/relationships/tags" Target="../tags/tag884.xml"/><Relationship Id="rId6" Type="http://schemas.openxmlformats.org/officeDocument/2006/relationships/oleObject" Target="../embeddings/oleObject114.bin"/><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chart" Target="../charts/chart2.xml"/></Relationships>
</file>

<file path=ppt/slides/_rels/slide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889.xml"/><Relationship Id="rId7" Type="http://schemas.openxmlformats.org/officeDocument/2006/relationships/image" Target="../media/image6.emf"/><Relationship Id="rId2" Type="http://schemas.openxmlformats.org/officeDocument/2006/relationships/tags" Target="../tags/tag888.xml"/><Relationship Id="rId1" Type="http://schemas.openxmlformats.org/officeDocument/2006/relationships/tags" Target="../tags/tag887.xml"/><Relationship Id="rId6" Type="http://schemas.openxmlformats.org/officeDocument/2006/relationships/oleObject" Target="../embeddings/oleObject115.bin"/><Relationship Id="rId5" Type="http://schemas.openxmlformats.org/officeDocument/2006/relationships/notesSlide" Target="../notesSlides/notesSlide4.xml"/><Relationship Id="rId4" Type="http://schemas.openxmlformats.org/officeDocument/2006/relationships/slideLayout" Target="../slideLayouts/slideLayout3.xml"/><Relationship Id="rId9"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extLst>
              <p:ext uri="{D42A27DB-BD31-4B8C-83A1-F6EECF244321}">
                <p14:modId xmlns:p14="http://schemas.microsoft.com/office/powerpoint/2010/main" val="2025614414"/>
              </p:ext>
            </p:ext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355548"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Overview Part 1</a:t>
            </a:r>
          </a:p>
        </p:txBody>
      </p:sp>
      <p:cxnSp>
        <p:nvCxnSpPr>
          <p:cNvPr id="5" name="Do not remove">
            <a:extLst>
              <a:ext uri="{FF2B5EF4-FFF2-40B4-BE49-F238E27FC236}">
                <a16:creationId xmlns:a16="http://schemas.microsoft.com/office/drawing/2014/main" id="{74411D5F-C3E8-45E8-9B26-29FB4505F0A1}"/>
              </a:ext>
            </a:extLst>
          </p:cNvPr>
          <p:cNvCxnSpPr/>
          <p:nvPr/>
        </p:nvCxnSpPr>
        <p:spPr>
          <a:xfrm>
            <a:off x="749756" y="-1432699"/>
            <a:ext cx="1089465"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E302193-CD1D-4471-8F48-B966389B8A6E}"/>
              </a:ext>
            </a:extLst>
          </p:cNvPr>
          <p:cNvSpPr txBox="1"/>
          <p:nvPr/>
        </p:nvSpPr>
        <p:spPr>
          <a:xfrm>
            <a:off x="416052" y="6466411"/>
            <a:ext cx="8245870" cy="161583"/>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r>
              <a:rPr lang="en-US" sz="1050" b="1" dirty="0"/>
              <a:t>Source: </a:t>
            </a:r>
            <a:r>
              <a:rPr lang="en-US" sz="1050" dirty="0"/>
              <a:t>CDC (https://www.cdc.gov/healthywater/surveillance/wastewater-surveillance/public-health-interpretation.html)</a:t>
            </a:r>
          </a:p>
        </p:txBody>
      </p:sp>
      <p:sp>
        <p:nvSpPr>
          <p:cNvPr id="19" name="TextBox 18">
            <a:extLst>
              <a:ext uri="{FF2B5EF4-FFF2-40B4-BE49-F238E27FC236}">
                <a16:creationId xmlns:a16="http://schemas.microsoft.com/office/drawing/2014/main" id="{EAA2FB50-B931-4C7B-8A09-4BE4A62B5796}"/>
              </a:ext>
            </a:extLst>
          </p:cNvPr>
          <p:cNvSpPr txBox="1"/>
          <p:nvPr/>
        </p:nvSpPr>
        <p:spPr>
          <a:xfrm>
            <a:off x="305308" y="533674"/>
            <a:ext cx="8718112" cy="4431983"/>
          </a:xfrm>
          <a:prstGeom prst="rect">
            <a:avLst/>
          </a:prstGeom>
          <a:noFill/>
          <a:ln w="6350">
            <a:noFill/>
            <a:miter lim="800000"/>
          </a:ln>
        </p:spPr>
        <p:txBody>
          <a:bodyPr wrap="square">
            <a:spAutoFit/>
          </a:bodyPr>
          <a:lstStyle/>
          <a:p>
            <a:r>
              <a:rPr lang="en-US" sz="1400" b="1" dirty="0">
                <a:solidFill>
                  <a:schemeClr val="tx2"/>
                </a:solidFill>
                <a:latin typeface="+mj-lt"/>
              </a:rPr>
              <a:t>What is wastewater surveillance? </a:t>
            </a:r>
          </a:p>
          <a:p>
            <a:r>
              <a:rPr lang="en-US" sz="1400" dirty="0">
                <a:latin typeface="+mj-lt"/>
              </a:rPr>
              <a:t>Wastewater surveillance is one method used to monitor the amount of SARS-CoV-2 in an area. In Massachusetts, the Department of Public Health collects SARS-CoV-2 data from more than 20 Wastewater Treatment Plants (WWTPs). </a:t>
            </a:r>
          </a:p>
          <a:p>
            <a:endParaRPr lang="en-US" sz="1400" dirty="0">
              <a:latin typeface="+mj-lt"/>
            </a:endParaRPr>
          </a:p>
          <a:p>
            <a:r>
              <a:rPr lang="en-US" sz="1400" b="1" dirty="0">
                <a:solidFill>
                  <a:schemeClr val="tx2"/>
                </a:solidFill>
                <a:latin typeface="+mj-lt"/>
              </a:rPr>
              <a:t>How does wastewater surveillance work? </a:t>
            </a:r>
          </a:p>
          <a:p>
            <a:r>
              <a:rPr lang="en-US" sz="1400" dirty="0">
                <a:latin typeface="+mj-lt"/>
              </a:rPr>
              <a:t>When a person has COVID-19, the SARS-CoV-2 virus is shed in their stool. A community’s collective wastewater flows to a wastewater treatment plant, where samples are taken and sent to a laboratory for SARS-CoV-2 testing. </a:t>
            </a:r>
          </a:p>
          <a:p>
            <a:endParaRPr lang="en-US" sz="1400" b="1" dirty="0">
              <a:latin typeface="+mj-lt"/>
            </a:endParaRPr>
          </a:p>
          <a:p>
            <a:r>
              <a:rPr lang="en-US" sz="1400" b="1" dirty="0">
                <a:solidFill>
                  <a:schemeClr val="tx2"/>
                </a:solidFill>
                <a:latin typeface="+mj-lt"/>
              </a:rPr>
              <a:t>What does wastewater surveillance data show? </a:t>
            </a:r>
          </a:p>
          <a:p>
            <a:r>
              <a:rPr lang="en-US" sz="14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4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600" dirty="0">
              <a:latin typeface="+mj-lt"/>
            </a:endParaRPr>
          </a:p>
          <a:p>
            <a:endParaRPr lang="en-US" sz="1400" dirty="0">
              <a:latin typeface="+mj-lt"/>
            </a:endParaRPr>
          </a:p>
        </p:txBody>
      </p:sp>
      <p:sp>
        <p:nvSpPr>
          <p:cNvPr id="3" name="Rectangle 2">
            <a:extLst>
              <a:ext uri="{FF2B5EF4-FFF2-40B4-BE49-F238E27FC236}">
                <a16:creationId xmlns:a16="http://schemas.microsoft.com/office/drawing/2014/main" id="{D6312246-8082-4254-5C24-F56AC4AB793D}"/>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3281228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Overview Part 2</a:t>
            </a:r>
          </a:p>
        </p:txBody>
      </p:sp>
      <p:cxnSp>
        <p:nvCxnSpPr>
          <p:cNvPr id="5" name="Do not remove">
            <a:extLst>
              <a:ext uri="{FF2B5EF4-FFF2-40B4-BE49-F238E27FC236}">
                <a16:creationId xmlns:a16="http://schemas.microsoft.com/office/drawing/2014/main" id="{74411D5F-C3E8-45E8-9B26-29FB4505F0A1}"/>
              </a:ext>
            </a:extLst>
          </p:cNvPr>
          <p:cNvCxnSpPr/>
          <p:nvPr/>
        </p:nvCxnSpPr>
        <p:spPr>
          <a:xfrm>
            <a:off x="749756" y="-1432699"/>
            <a:ext cx="1089465"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AA2FB50-B931-4C7B-8A09-4BE4A62B5796}"/>
              </a:ext>
            </a:extLst>
          </p:cNvPr>
          <p:cNvSpPr txBox="1"/>
          <p:nvPr/>
        </p:nvSpPr>
        <p:spPr>
          <a:xfrm>
            <a:off x="305308" y="533674"/>
            <a:ext cx="8718112" cy="523220"/>
          </a:xfrm>
          <a:prstGeom prst="rect">
            <a:avLst/>
          </a:prstGeom>
          <a:noFill/>
          <a:ln w="6350">
            <a:noFill/>
            <a:miter lim="800000"/>
          </a:ln>
        </p:spPr>
        <p:txBody>
          <a:bodyPr wrap="square">
            <a:spAutoFit/>
          </a:bodyPr>
          <a:lstStyle/>
          <a:p>
            <a:r>
              <a:rPr lang="en-US" sz="1400" b="1" dirty="0">
                <a:solidFill>
                  <a:schemeClr val="tx2"/>
                </a:solidFill>
                <a:latin typeface="+mj-lt"/>
              </a:rPr>
              <a:t>Which treatment plants participate in wastewater surveillance? </a:t>
            </a:r>
          </a:p>
          <a:p>
            <a:r>
              <a:rPr lang="en-US" sz="1400" dirty="0">
                <a:latin typeface="+mj-lt"/>
              </a:rPr>
              <a:t>Samples are generally taken 2 or more times each week at the following wastewater treatment plants: </a:t>
            </a:r>
          </a:p>
        </p:txBody>
      </p:sp>
      <p:graphicFrame>
        <p:nvGraphicFramePr>
          <p:cNvPr id="9" name="Table 8">
            <a:extLst>
              <a:ext uri="{FF2B5EF4-FFF2-40B4-BE49-F238E27FC236}">
                <a16:creationId xmlns:a16="http://schemas.microsoft.com/office/drawing/2014/main" id="{98082A20-A470-A39C-FF88-E914097BB6A1}"/>
              </a:ext>
            </a:extLst>
          </p:cNvPr>
          <p:cNvGraphicFramePr>
            <a:graphicFrameLocks noGrp="1"/>
          </p:cNvGraphicFramePr>
          <p:nvPr>
            <p:extLst>
              <p:ext uri="{D42A27DB-BD31-4B8C-83A1-F6EECF244321}">
                <p14:modId xmlns:p14="http://schemas.microsoft.com/office/powerpoint/2010/main" val="2809786763"/>
              </p:ext>
            </p:extLst>
          </p:nvPr>
        </p:nvGraphicFramePr>
        <p:xfrm>
          <a:off x="416053" y="1147156"/>
          <a:ext cx="3869876" cy="4434840"/>
        </p:xfrm>
        <a:graphic>
          <a:graphicData uri="http://schemas.openxmlformats.org/drawingml/2006/table">
            <a:tbl>
              <a:tblPr firstRow="1">
                <a:tableStyleId>{9DCAF9ED-07DC-4A11-8D7F-57B35C25682E}</a:tableStyleId>
              </a:tblPr>
              <a:tblGrid>
                <a:gridCol w="2402561">
                  <a:extLst>
                    <a:ext uri="{9D8B030D-6E8A-4147-A177-3AD203B41FA5}">
                      <a16:colId xmlns:a16="http://schemas.microsoft.com/office/drawing/2014/main" val="1630722757"/>
                    </a:ext>
                  </a:extLst>
                </a:gridCol>
                <a:gridCol w="1467315">
                  <a:extLst>
                    <a:ext uri="{9D8B030D-6E8A-4147-A177-3AD203B41FA5}">
                      <a16:colId xmlns:a16="http://schemas.microsoft.com/office/drawing/2014/main" val="3622203669"/>
                    </a:ext>
                  </a:extLst>
                </a:gridCol>
              </a:tblGrid>
              <a:tr h="140304">
                <a:tc>
                  <a:txBody>
                    <a:bodyPr/>
                    <a:lstStyle/>
                    <a:p>
                      <a:pPr algn="ctr"/>
                      <a:r>
                        <a:rPr lang="en-US" sz="1050" b="0" dirty="0">
                          <a:solidFill>
                            <a:schemeClr val="tx2"/>
                          </a:solidFill>
                        </a:rPr>
                        <a:t>Treatment Plant</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b="0" dirty="0">
                          <a:solidFill>
                            <a:schemeClr val="tx2"/>
                          </a:solidFill>
                        </a:rPr>
                        <a:t>Geographic Coverage</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18428721"/>
                  </a:ext>
                </a:extLst>
              </a:tr>
              <a:tr h="126274">
                <a:tc>
                  <a:txBody>
                    <a:bodyPr/>
                    <a:lstStyle/>
                    <a:p>
                      <a:r>
                        <a:rPr lang="en-US" sz="1050" dirty="0"/>
                        <a:t>Amherst Public Works</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Amherst</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39725627"/>
                  </a:ext>
                </a:extLst>
              </a:tr>
              <a:tr h="126274">
                <a:tc>
                  <a:txBody>
                    <a:bodyPr/>
                    <a:lstStyle/>
                    <a:p>
                      <a:r>
                        <a:rPr lang="en-US" sz="1050" dirty="0"/>
                        <a:t>Atho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Atho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60211122"/>
                  </a:ext>
                </a:extLst>
              </a:tr>
              <a:tr h="126274">
                <a:tc>
                  <a:txBody>
                    <a:bodyPr/>
                    <a:lstStyle/>
                    <a:p>
                      <a:r>
                        <a:rPr lang="en-US" sz="1050" dirty="0"/>
                        <a:t>Billerica Influe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Billerica</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862324"/>
                  </a:ext>
                </a:extLst>
              </a:tr>
              <a:tr h="126274">
                <a:tc>
                  <a:txBody>
                    <a:bodyPr/>
                    <a:lstStyle/>
                    <a:p>
                      <a:r>
                        <a:rPr lang="en-US" sz="1050" dirty="0"/>
                        <a:t>Veolia Brockton Plant</a:t>
                      </a:r>
                    </a:p>
                  </a:txBody>
                  <a:tcP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Brockton</a:t>
                      </a:r>
                    </a:p>
                  </a:txBody>
                  <a:tcP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537867"/>
                  </a:ext>
                </a:extLst>
              </a:tr>
              <a:tr h="126274">
                <a:tc>
                  <a:txBody>
                    <a:bodyPr/>
                    <a:lstStyle/>
                    <a:p>
                      <a:r>
                        <a:rPr lang="en-US" sz="1050" dirty="0"/>
                        <a:t>Chicopee Pla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Chicope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45952494"/>
                  </a:ext>
                </a:extLst>
              </a:tr>
              <a:tr h="126274">
                <a:tc>
                  <a:txBody>
                    <a:bodyPr/>
                    <a:lstStyle/>
                    <a:p>
                      <a:r>
                        <a:rPr lang="en-US" sz="1050"/>
                        <a:t>Fitchburg </a:t>
                      </a:r>
                      <a:r>
                        <a:rPr lang="en-US" sz="1050" dirty="0"/>
                        <a:t>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Fitchburg</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46971654"/>
                  </a:ext>
                </a:extLst>
              </a:tr>
              <a:tr h="126274">
                <a:tc>
                  <a:txBody>
                    <a:bodyPr/>
                    <a:lstStyle/>
                    <a:p>
                      <a:r>
                        <a:rPr lang="en-US" sz="1050" dirty="0"/>
                        <a:t>Green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Greenfield</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33358467"/>
                  </a:ext>
                </a:extLst>
              </a:tr>
              <a:tr h="126274">
                <a:tc>
                  <a:txBody>
                    <a:bodyPr/>
                    <a:lstStyle/>
                    <a:p>
                      <a:r>
                        <a:rPr lang="en-US" sz="1050" dirty="0"/>
                        <a:t>Haverhil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Haverhil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03206871"/>
                  </a:ext>
                </a:extLst>
              </a:tr>
              <a:tr h="126274">
                <a:tc>
                  <a:txBody>
                    <a:bodyPr/>
                    <a:lstStyle/>
                    <a:p>
                      <a:r>
                        <a:rPr lang="en-US" sz="1050" dirty="0"/>
                        <a:t>Hul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Hul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21311574"/>
                  </a:ext>
                </a:extLst>
              </a:tr>
              <a:tr h="126274">
                <a:tc>
                  <a:txBody>
                    <a:bodyPr/>
                    <a:lstStyle/>
                    <a:p>
                      <a:r>
                        <a:rPr lang="en-US" sz="1050" dirty="0"/>
                        <a:t>North Brook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North Brookfield</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46681002"/>
                  </a:ext>
                </a:extLst>
              </a:tr>
              <a:tr h="159757">
                <a:tc>
                  <a:txBody>
                    <a:bodyPr/>
                    <a:lstStyle/>
                    <a:p>
                      <a:r>
                        <a:rPr lang="en-US" sz="1050" dirty="0"/>
                        <a:t>South Essex Sewage Distric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eabody &amp; Sale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08338041"/>
                  </a:ext>
                </a:extLst>
              </a:tr>
              <a:tr h="159757">
                <a:tc>
                  <a:txBody>
                    <a:bodyPr/>
                    <a:lstStyle/>
                    <a:p>
                      <a:r>
                        <a:rPr lang="en-US" sz="1050" dirty="0"/>
                        <a:t>Plymouth Headworks Influe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lymouth</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42418065"/>
                  </a:ext>
                </a:extLst>
              </a:tr>
              <a:tr h="159757">
                <a:tc>
                  <a:txBody>
                    <a:bodyPr/>
                    <a:lstStyle/>
                    <a:p>
                      <a:r>
                        <a:rPr lang="en-US" sz="1050" dirty="0"/>
                        <a:t>Provincetown Treatment Pla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rovincetown</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89294754"/>
                  </a:ext>
                </a:extLst>
              </a:tr>
              <a:tr h="159757">
                <a:tc>
                  <a:txBody>
                    <a:bodyPr/>
                    <a:lstStyle/>
                    <a:p>
                      <a:r>
                        <a:rPr lang="en-US" sz="1050" dirty="0"/>
                        <a:t>South Hadley Water Pollution Control</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South Hadley</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7180267"/>
                  </a:ext>
                </a:extLst>
              </a:tr>
              <a:tr h="126274">
                <a:tc>
                  <a:txBody>
                    <a:bodyPr/>
                    <a:lstStyle/>
                    <a:p>
                      <a:r>
                        <a:rPr lang="en-US" sz="1050" dirty="0"/>
                        <a:t>Uxbridge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Uxbridg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99324381"/>
                  </a:ext>
                </a:extLst>
              </a:tr>
              <a:tr h="159757">
                <a:tc>
                  <a:txBody>
                    <a:bodyPr/>
                    <a:lstStyle/>
                    <a:p>
                      <a:r>
                        <a:rPr lang="en-US" sz="1050" dirty="0"/>
                        <a:t>Wareham Water Pollution Control</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areha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3173964"/>
                  </a:ext>
                </a:extLst>
              </a:tr>
            </a:tbl>
          </a:graphicData>
        </a:graphic>
      </p:graphicFrame>
      <p:graphicFrame>
        <p:nvGraphicFramePr>
          <p:cNvPr id="12" name="Table 11">
            <a:extLst>
              <a:ext uri="{FF2B5EF4-FFF2-40B4-BE49-F238E27FC236}">
                <a16:creationId xmlns:a16="http://schemas.microsoft.com/office/drawing/2014/main" id="{E5408D10-E129-AB65-66DE-460657B3EB69}"/>
              </a:ext>
            </a:extLst>
          </p:cNvPr>
          <p:cNvGraphicFramePr>
            <a:graphicFrameLocks noGrp="1"/>
          </p:cNvGraphicFramePr>
          <p:nvPr>
            <p:extLst>
              <p:ext uri="{D42A27DB-BD31-4B8C-83A1-F6EECF244321}">
                <p14:modId xmlns:p14="http://schemas.microsoft.com/office/powerpoint/2010/main" val="1870873460"/>
              </p:ext>
            </p:extLst>
          </p:nvPr>
        </p:nvGraphicFramePr>
        <p:xfrm>
          <a:off x="4538987" y="1147156"/>
          <a:ext cx="3869876" cy="3909060"/>
        </p:xfrm>
        <a:graphic>
          <a:graphicData uri="http://schemas.openxmlformats.org/drawingml/2006/table">
            <a:tbl>
              <a:tblPr firstRow="1">
                <a:tableStyleId>{9DCAF9ED-07DC-4A11-8D7F-57B35C25682E}</a:tableStyleId>
              </a:tblPr>
              <a:tblGrid>
                <a:gridCol w="1232073">
                  <a:extLst>
                    <a:ext uri="{9D8B030D-6E8A-4147-A177-3AD203B41FA5}">
                      <a16:colId xmlns:a16="http://schemas.microsoft.com/office/drawing/2014/main" val="1630722757"/>
                    </a:ext>
                  </a:extLst>
                </a:gridCol>
                <a:gridCol w="2637803">
                  <a:extLst>
                    <a:ext uri="{9D8B030D-6E8A-4147-A177-3AD203B41FA5}">
                      <a16:colId xmlns:a16="http://schemas.microsoft.com/office/drawing/2014/main" val="3622203669"/>
                    </a:ext>
                  </a:extLst>
                </a:gridCol>
              </a:tblGrid>
              <a:tr h="140304">
                <a:tc>
                  <a:txBody>
                    <a:bodyPr/>
                    <a:lstStyle/>
                    <a:p>
                      <a:pPr algn="ctr"/>
                      <a:r>
                        <a:rPr lang="en-US" sz="1050" b="0" dirty="0">
                          <a:solidFill>
                            <a:schemeClr val="tx2"/>
                          </a:solidFill>
                        </a:rPr>
                        <a:t>Treatment Plant</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b="0" dirty="0">
                          <a:solidFill>
                            <a:schemeClr val="tx2"/>
                          </a:solidFill>
                        </a:rPr>
                        <a:t>Geographic Coverage</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18428721"/>
                  </a:ext>
                </a:extLst>
              </a:tr>
              <a:tr h="126274">
                <a:tc>
                  <a:txBody>
                    <a:bodyPr/>
                    <a:lstStyle/>
                    <a:p>
                      <a:r>
                        <a:rPr lang="en-US" sz="1050" dirty="0"/>
                        <a:t>Greater Lawrence Sanitary Distric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Lawrence, Methuen, North Andover, Andover, Dracut, &amp; Sale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80700180"/>
                  </a:ext>
                </a:extLst>
              </a:tr>
              <a:tr h="126274">
                <a:tc>
                  <a:txBody>
                    <a:bodyPr/>
                    <a:lstStyle/>
                    <a:p>
                      <a:r>
                        <a:rPr lang="en-US" sz="1050" dirty="0"/>
                        <a:t>Pitts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ittsfield, Dalton, Hinsdale, &amp; Lenox</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39725627"/>
                  </a:ext>
                </a:extLst>
              </a:tr>
              <a:tr h="126274">
                <a:tc>
                  <a:txBody>
                    <a:bodyPr/>
                    <a:lstStyle/>
                    <a:p>
                      <a:r>
                        <a:rPr lang="en-US" sz="1050" dirty="0"/>
                        <a:t>Upper Blackstone Clean Wate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orcester, Auburn, Holden, Millbury, Rutland, West Boylston, &amp; Leicester</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60211122"/>
                  </a:ext>
                </a:extLst>
              </a:tr>
              <a:tr h="126274">
                <a:tc>
                  <a:txBody>
                    <a:bodyPr/>
                    <a:lstStyle/>
                    <a:p>
                      <a:r>
                        <a:rPr lang="en-US" sz="1050" dirty="0"/>
                        <a:t>MWRA Deer Island Treatment Plant North</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ilmington, Reading, Wakefield, Burlington, Bedford, Woburn, Stoneham, Melrose, Malden, Winchester, Lexington, Waltham, Belmont, Arlington, Medford, Everett, Revere, Chelsea, Winthrop, Somerville, Cambridge, Watertown, Boston, Newton, Brooklin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862324"/>
                  </a:ext>
                </a:extLst>
              </a:tr>
              <a:tr h="126274">
                <a:tc>
                  <a:txBody>
                    <a:bodyPr/>
                    <a:lstStyle/>
                    <a:p>
                      <a:r>
                        <a:rPr lang="en-US" sz="1050" dirty="0"/>
                        <a:t>MWRA Deer Island Treatment Plant South </a:t>
                      </a:r>
                    </a:p>
                  </a:txBody>
                  <a:tcP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Framingham, Ashland, Natick, Wellesley, Needham, Newton, Brookline, Boston, Dedham, Westwood, Norwood, Walpole, Canton, Milton, Quincy, Braintree, Randolph, Stoughton, Holbrook, Weymouth, Hingham</a:t>
                      </a:r>
                    </a:p>
                  </a:txBody>
                  <a:tcP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537867"/>
                  </a:ext>
                </a:extLst>
              </a:tr>
            </a:tbl>
          </a:graphicData>
        </a:graphic>
      </p:graphicFrame>
      <p:sp>
        <p:nvSpPr>
          <p:cNvPr id="10" name="Rectangle 9">
            <a:extLst>
              <a:ext uri="{FF2B5EF4-FFF2-40B4-BE49-F238E27FC236}">
                <a16:creationId xmlns:a16="http://schemas.microsoft.com/office/drawing/2014/main" id="{C0CBA51E-F50E-555B-07DD-74C3198E89AE}"/>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2096384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across MA treatment plants</a:t>
            </a:r>
          </a:p>
        </p:txBody>
      </p:sp>
      <p:sp>
        <p:nvSpPr>
          <p:cNvPr id="55" name="Sticker">
            <a:extLst>
              <a:ext uri="{FF2B5EF4-FFF2-40B4-BE49-F238E27FC236}">
                <a16:creationId xmlns:a16="http://schemas.microsoft.com/office/drawing/2014/main" id="{4060F086-018D-4FE8-B182-1ED99D95F42C}"/>
              </a:ext>
            </a:extLst>
          </p:cNvPr>
          <p:cNvSpPr txBox="1"/>
          <p:nvPr/>
        </p:nvSpPr>
        <p:spPr>
          <a:xfrm>
            <a:off x="406004" y="556544"/>
            <a:ext cx="2376575" cy="123111"/>
          </a:xfrm>
          <a:prstGeom prst="rect">
            <a:avLst/>
          </a:prstGeom>
          <a:noFill/>
          <a:ln w="6350">
            <a:noFill/>
            <a:miter lim="800000"/>
          </a:ln>
        </p:spPr>
        <p:txBody>
          <a:bodyPr vert="horz" wrap="square" lIns="0" tIns="0" rIns="0" bIns="0" rtlCol="0" anchor="t">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all" spc="0" normalizeH="0" baseline="0" noProof="0" dirty="0">
                <a:ln>
                  <a:noFill/>
                </a:ln>
                <a:solidFill>
                  <a:srgbClr val="000000"/>
                </a:solidFill>
                <a:effectLst/>
                <a:uLnTx/>
                <a:uFillTx/>
                <a:latin typeface="Arial"/>
                <a:ea typeface="+mn-ea"/>
                <a:cs typeface="+mn-cs"/>
              </a:rPr>
              <a:t>LAST UPDATED ON August 11, 2022</a:t>
            </a:r>
          </a:p>
        </p:txBody>
      </p:sp>
      <p:sp>
        <p:nvSpPr>
          <p:cNvPr id="33" name="TextBox 32">
            <a:extLst>
              <a:ext uri="{FF2B5EF4-FFF2-40B4-BE49-F238E27FC236}">
                <a16:creationId xmlns:a16="http://schemas.microsoft.com/office/drawing/2014/main" id="{E184365A-F166-4DE1-A88B-C72454F0C1DE}"/>
              </a:ext>
            </a:extLst>
          </p:cNvPr>
          <p:cNvSpPr txBox="1"/>
          <p:nvPr/>
        </p:nvSpPr>
        <p:spPr>
          <a:xfrm>
            <a:off x="374742" y="6146771"/>
            <a:ext cx="8596883" cy="646331"/>
          </a:xfrm>
          <a:prstGeom prst="rect">
            <a:avLst/>
          </a:prstGeom>
          <a:noFill/>
          <a:ln w="6350">
            <a:noFill/>
            <a:miter lim="800000"/>
          </a:ln>
        </p:spPr>
        <p:txBody>
          <a:bodyPr wrap="square">
            <a:spAutoFit/>
          </a:bodyPr>
          <a:lstStyle/>
          <a:p>
            <a:r>
              <a:rPr lang="en-US" sz="900" dirty="0"/>
              <a:t>Samples are currently taken 1 - 7 times a week and analyzed by Biobot Analytics, a wastewater epidemiology company based in Cambridge, MA. The graphs represent the “7-day averages” which are the average viral copies over the past 7 days in each treatment plant. </a:t>
            </a:r>
          </a:p>
          <a:p>
            <a:r>
              <a:rPr lang="en-US" sz="900" i="1" dirty="0"/>
              <a:t>MWRA data:  https://www.mwra.com/biobot/biobotdata.htm</a:t>
            </a:r>
          </a:p>
          <a:p>
            <a:endParaRPr lang="en-US" sz="900" dirty="0"/>
          </a:p>
        </p:txBody>
      </p:sp>
      <p:sp>
        <p:nvSpPr>
          <p:cNvPr id="3" name="Rectangle 2">
            <a:extLst>
              <a:ext uri="{FF2B5EF4-FFF2-40B4-BE49-F238E27FC236}">
                <a16:creationId xmlns:a16="http://schemas.microsoft.com/office/drawing/2014/main" id="{12990877-6F79-A466-A3A3-3E3D26382FDA}"/>
              </a:ext>
            </a:extLst>
          </p:cNvPr>
          <p:cNvSpPr/>
          <p:nvPr/>
        </p:nvSpPr>
        <p:spPr>
          <a:xfrm>
            <a:off x="420190" y="833362"/>
            <a:ext cx="4054764" cy="4398948"/>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extBox 3">
            <a:extLst>
              <a:ext uri="{FF2B5EF4-FFF2-40B4-BE49-F238E27FC236}">
                <a16:creationId xmlns:a16="http://schemas.microsoft.com/office/drawing/2014/main" id="{0D4394EC-E30C-6F74-1A9A-60A4B68F88B7}"/>
              </a:ext>
            </a:extLst>
          </p:cNvPr>
          <p:cNvSpPr txBox="1"/>
          <p:nvPr/>
        </p:nvSpPr>
        <p:spPr>
          <a:xfrm>
            <a:off x="420189" y="833362"/>
            <a:ext cx="4054764" cy="575569"/>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North Shore &amp; Boston 7-Day Averages</a:t>
            </a:r>
          </a:p>
          <a:p>
            <a:pPr algn="ctr">
              <a:spcBef>
                <a:spcPts val="300"/>
              </a:spcBef>
              <a:spcAft>
                <a:spcPts val="300"/>
              </a:spcAft>
              <a:buNone/>
            </a:pPr>
            <a:r>
              <a:rPr lang="en-US" sz="1200" dirty="0">
                <a:solidFill>
                  <a:schemeClr val="bg1"/>
                </a:solidFill>
              </a:rPr>
              <a:t>June 14, 2022 – August 9, 2022</a:t>
            </a:r>
          </a:p>
        </p:txBody>
      </p:sp>
      <p:sp>
        <p:nvSpPr>
          <p:cNvPr id="6" name="TextBox 5">
            <a:extLst>
              <a:ext uri="{FF2B5EF4-FFF2-40B4-BE49-F238E27FC236}">
                <a16:creationId xmlns:a16="http://schemas.microsoft.com/office/drawing/2014/main" id="{0D64BCC6-ECFF-34C6-0A0C-81B308A682ED}"/>
              </a:ext>
            </a:extLst>
          </p:cNvPr>
          <p:cNvSpPr txBox="1"/>
          <p:nvPr/>
        </p:nvSpPr>
        <p:spPr>
          <a:xfrm>
            <a:off x="420190" y="5232309"/>
            <a:ext cx="4054763" cy="914462"/>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nvGrpSpPr>
          <p:cNvPr id="54" name="Group 53">
            <a:extLst>
              <a:ext uri="{FF2B5EF4-FFF2-40B4-BE49-F238E27FC236}">
                <a16:creationId xmlns:a16="http://schemas.microsoft.com/office/drawing/2014/main" id="{CA7121D5-483E-AF9E-84D8-EF4C43429128}"/>
              </a:ext>
            </a:extLst>
          </p:cNvPr>
          <p:cNvGrpSpPr/>
          <p:nvPr/>
        </p:nvGrpSpPr>
        <p:grpSpPr>
          <a:xfrm>
            <a:off x="4649289" y="833362"/>
            <a:ext cx="4054765" cy="5313409"/>
            <a:chOff x="416051" y="1177325"/>
            <a:chExt cx="4054765" cy="4957264"/>
          </a:xfrm>
        </p:grpSpPr>
        <p:sp>
          <p:nvSpPr>
            <p:cNvPr id="79" name="Rectangle 78">
              <a:extLst>
                <a:ext uri="{FF2B5EF4-FFF2-40B4-BE49-F238E27FC236}">
                  <a16:creationId xmlns:a16="http://schemas.microsoft.com/office/drawing/2014/main" id="{246BAA84-77C4-1ED6-76D1-1AA74A535853}"/>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0" name="TextBox 79">
              <a:extLst>
                <a:ext uri="{FF2B5EF4-FFF2-40B4-BE49-F238E27FC236}">
                  <a16:creationId xmlns:a16="http://schemas.microsoft.com/office/drawing/2014/main" id="{7A80606D-E1A1-8EE5-E7A4-C155A41DCDC1}"/>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South Shore &amp; Cape Cod 7-Day Averages</a:t>
              </a:r>
            </a:p>
            <a:p>
              <a:pPr algn="ctr">
                <a:spcBef>
                  <a:spcPts val="300"/>
                </a:spcBef>
                <a:spcAft>
                  <a:spcPts val="300"/>
                </a:spcAft>
                <a:buNone/>
              </a:pPr>
              <a:r>
                <a:rPr lang="en-US" sz="1200" dirty="0">
                  <a:solidFill>
                    <a:schemeClr val="bg1"/>
                  </a:solidFill>
                </a:rPr>
                <a:t>June 14, 2022 – August 9, 2022</a:t>
              </a:r>
            </a:p>
          </p:txBody>
        </p:sp>
        <p:sp>
          <p:nvSpPr>
            <p:cNvPr id="81" name="TextBox 80">
              <a:extLst>
                <a:ext uri="{FF2B5EF4-FFF2-40B4-BE49-F238E27FC236}">
                  <a16:creationId xmlns:a16="http://schemas.microsoft.com/office/drawing/2014/main" id="{27CFF61E-C91E-A294-AAF8-6B62FA3C2352}"/>
                </a:ext>
              </a:extLst>
            </p:cNvPr>
            <p:cNvSpPr txBox="1"/>
            <p:nvPr/>
          </p:nvSpPr>
          <p:spPr>
            <a:xfrm>
              <a:off x="416052" y="5281421"/>
              <a:ext cx="4054763" cy="853168"/>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56" name="Chart 55">
            <a:extLst>
              <a:ext uri="{FF2B5EF4-FFF2-40B4-BE49-F238E27FC236}">
                <a16:creationId xmlns:a16="http://schemas.microsoft.com/office/drawing/2014/main" id="{F9977055-568F-013A-7D4D-C8CC754D74E1}"/>
              </a:ext>
            </a:extLst>
          </p:cNvPr>
          <p:cNvGraphicFramePr/>
          <p:nvPr/>
        </p:nvGraphicFramePr>
        <p:xfrm>
          <a:off x="4305126" y="1329400"/>
          <a:ext cx="4501468" cy="3902910"/>
        </p:xfrm>
        <a:graphic>
          <a:graphicData uri="http://schemas.openxmlformats.org/drawingml/2006/chart">
            <c:chart xmlns:c="http://schemas.openxmlformats.org/drawingml/2006/chart" xmlns:r="http://schemas.openxmlformats.org/officeDocument/2006/relationships" r:id="rId8"/>
          </a:graphicData>
        </a:graphic>
      </p:graphicFrame>
      <p:sp>
        <p:nvSpPr>
          <p:cNvPr id="52" name="Rectangle 51">
            <a:extLst>
              <a:ext uri="{FF2B5EF4-FFF2-40B4-BE49-F238E27FC236}">
                <a16:creationId xmlns:a16="http://schemas.microsoft.com/office/drawing/2014/main" id="{4A93C295-4D9D-C339-A1AD-C4E6D056B04E}"/>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nvGrpSpPr>
          <p:cNvPr id="9" name="Group 8">
            <a:extLst>
              <a:ext uri="{FF2B5EF4-FFF2-40B4-BE49-F238E27FC236}">
                <a16:creationId xmlns:a16="http://schemas.microsoft.com/office/drawing/2014/main" id="{D30F1C8B-058D-51EC-86BD-D50B970DFC32}"/>
              </a:ext>
            </a:extLst>
          </p:cNvPr>
          <p:cNvGrpSpPr/>
          <p:nvPr/>
        </p:nvGrpSpPr>
        <p:grpSpPr>
          <a:xfrm>
            <a:off x="468921" y="5302806"/>
            <a:ext cx="3997890" cy="809754"/>
            <a:chOff x="468921" y="5302806"/>
            <a:chExt cx="3997890" cy="809754"/>
          </a:xfrm>
        </p:grpSpPr>
        <p:grpSp>
          <p:nvGrpSpPr>
            <p:cNvPr id="16" name="Group 15">
              <a:extLst>
                <a:ext uri="{FF2B5EF4-FFF2-40B4-BE49-F238E27FC236}">
                  <a16:creationId xmlns:a16="http://schemas.microsoft.com/office/drawing/2014/main" id="{96AF4C2D-343A-DFA9-EF5D-96955E13D8B6}"/>
                </a:ext>
              </a:extLst>
            </p:cNvPr>
            <p:cNvGrpSpPr/>
            <p:nvPr/>
          </p:nvGrpSpPr>
          <p:grpSpPr>
            <a:xfrm>
              <a:off x="474980" y="5302806"/>
              <a:ext cx="1980212" cy="155503"/>
              <a:chOff x="467360" y="5287566"/>
              <a:chExt cx="1980212" cy="155503"/>
            </a:xfrm>
          </p:grpSpPr>
          <p:sp>
            <p:nvSpPr>
              <p:cNvPr id="10" name="TextBox 9">
                <a:extLst>
                  <a:ext uri="{FF2B5EF4-FFF2-40B4-BE49-F238E27FC236}">
                    <a16:creationId xmlns:a16="http://schemas.microsoft.com/office/drawing/2014/main" id="{43C47614-A6C3-72D7-AD93-A1879B14E08A}"/>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Billerica</a:t>
                </a:r>
              </a:p>
            </p:txBody>
          </p:sp>
          <p:sp>
            <p:nvSpPr>
              <p:cNvPr id="11" name="Rectangle: Rounded Corners 10">
                <a:extLst>
                  <a:ext uri="{FF2B5EF4-FFF2-40B4-BE49-F238E27FC236}">
                    <a16:creationId xmlns:a16="http://schemas.microsoft.com/office/drawing/2014/main" id="{1A1670AB-324C-35AB-9A5F-2A72B9A5B75A}"/>
                  </a:ext>
                </a:extLst>
              </p:cNvPr>
              <p:cNvSpPr/>
              <p:nvPr/>
            </p:nvSpPr>
            <p:spPr>
              <a:xfrm>
                <a:off x="46736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32" name="Group 31">
              <a:extLst>
                <a:ext uri="{FF2B5EF4-FFF2-40B4-BE49-F238E27FC236}">
                  <a16:creationId xmlns:a16="http://schemas.microsoft.com/office/drawing/2014/main" id="{9846F686-B9D0-1715-DECE-5C56C50E2BA0}"/>
                </a:ext>
              </a:extLst>
            </p:cNvPr>
            <p:cNvGrpSpPr/>
            <p:nvPr/>
          </p:nvGrpSpPr>
          <p:grpSpPr>
            <a:xfrm>
              <a:off x="474980" y="5529790"/>
              <a:ext cx="1980212" cy="155503"/>
              <a:chOff x="467360" y="5287566"/>
              <a:chExt cx="1980212" cy="155503"/>
            </a:xfrm>
          </p:grpSpPr>
          <p:sp>
            <p:nvSpPr>
              <p:cNvPr id="34" name="TextBox 33">
                <a:extLst>
                  <a:ext uri="{FF2B5EF4-FFF2-40B4-BE49-F238E27FC236}">
                    <a16:creationId xmlns:a16="http://schemas.microsoft.com/office/drawing/2014/main" id="{4A448B92-3782-DC1C-FFE6-33718E627BF6}"/>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eater Lawrence Sanitary District</a:t>
                </a:r>
              </a:p>
            </p:txBody>
          </p:sp>
          <p:sp>
            <p:nvSpPr>
              <p:cNvPr id="35" name="Rectangle: Rounded Corners 34">
                <a:extLst>
                  <a:ext uri="{FF2B5EF4-FFF2-40B4-BE49-F238E27FC236}">
                    <a16:creationId xmlns:a16="http://schemas.microsoft.com/office/drawing/2014/main" id="{9AD3BCDB-DD36-A3C5-0B14-BBCDDEDC5FE5}"/>
                  </a:ext>
                </a:extLst>
              </p:cNvPr>
              <p:cNvSpPr/>
              <p:nvPr/>
            </p:nvSpPr>
            <p:spPr>
              <a:xfrm>
                <a:off x="46736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36" name="Group 35">
              <a:extLst>
                <a:ext uri="{FF2B5EF4-FFF2-40B4-BE49-F238E27FC236}">
                  <a16:creationId xmlns:a16="http://schemas.microsoft.com/office/drawing/2014/main" id="{763A19AC-AEF7-89E9-AA4C-CB48D0C1B19B}"/>
                </a:ext>
              </a:extLst>
            </p:cNvPr>
            <p:cNvGrpSpPr/>
            <p:nvPr/>
          </p:nvGrpSpPr>
          <p:grpSpPr>
            <a:xfrm>
              <a:off x="474980" y="5756774"/>
              <a:ext cx="1980212" cy="155503"/>
              <a:chOff x="467360" y="5287566"/>
              <a:chExt cx="1980212" cy="155503"/>
            </a:xfrm>
          </p:grpSpPr>
          <p:sp>
            <p:nvSpPr>
              <p:cNvPr id="37" name="TextBox 36">
                <a:extLst>
                  <a:ext uri="{FF2B5EF4-FFF2-40B4-BE49-F238E27FC236}">
                    <a16:creationId xmlns:a16="http://schemas.microsoft.com/office/drawing/2014/main" id="{9AE45FDF-EA99-26F6-963F-49E34574E6CE}"/>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Haverhill Public Works</a:t>
                </a:r>
              </a:p>
            </p:txBody>
          </p:sp>
          <p:sp>
            <p:nvSpPr>
              <p:cNvPr id="38" name="Rectangle: Rounded Corners 37">
                <a:extLst>
                  <a:ext uri="{FF2B5EF4-FFF2-40B4-BE49-F238E27FC236}">
                    <a16:creationId xmlns:a16="http://schemas.microsoft.com/office/drawing/2014/main" id="{B9C23785-1693-497C-D9AA-22572D5F5AAF}"/>
                  </a:ext>
                </a:extLst>
              </p:cNvPr>
              <p:cNvSpPr/>
              <p:nvPr/>
            </p:nvSpPr>
            <p:spPr>
              <a:xfrm>
                <a:off x="467360" y="5326441"/>
                <a:ext cx="182880" cy="77752"/>
              </a:xfrm>
              <a:prstGeom prst="roundRect">
                <a:avLst/>
              </a:prstGeom>
              <a:solidFill>
                <a:schemeClr val="accent3">
                  <a:lumMod val="50000"/>
                </a:schemeClr>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0" name="Group 39">
              <a:extLst>
                <a:ext uri="{FF2B5EF4-FFF2-40B4-BE49-F238E27FC236}">
                  <a16:creationId xmlns:a16="http://schemas.microsoft.com/office/drawing/2014/main" id="{25EDCCF3-838B-CB36-14B8-AF4E524D84CD}"/>
                </a:ext>
              </a:extLst>
            </p:cNvPr>
            <p:cNvGrpSpPr/>
            <p:nvPr/>
          </p:nvGrpSpPr>
          <p:grpSpPr>
            <a:xfrm>
              <a:off x="468921" y="5957057"/>
              <a:ext cx="1980212" cy="155503"/>
              <a:chOff x="-1528084" y="5944920"/>
              <a:chExt cx="1980212" cy="155503"/>
            </a:xfrm>
          </p:grpSpPr>
          <p:sp>
            <p:nvSpPr>
              <p:cNvPr id="50" name="TextBox 49">
                <a:extLst>
                  <a:ext uri="{FF2B5EF4-FFF2-40B4-BE49-F238E27FC236}">
                    <a16:creationId xmlns:a16="http://schemas.microsoft.com/office/drawing/2014/main" id="{C67F8878-6BE7-DD49-33AB-973A73C3D2DB}"/>
                  </a:ext>
                </a:extLst>
              </p:cNvPr>
              <p:cNvSpPr txBox="1"/>
              <p:nvPr/>
            </p:nvSpPr>
            <p:spPr>
              <a:xfrm>
                <a:off x="-1315712" y="594492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MWRA North</a:t>
                </a:r>
              </a:p>
            </p:txBody>
          </p:sp>
          <p:sp>
            <p:nvSpPr>
              <p:cNvPr id="51" name="Rectangle: Rounded Corners 50">
                <a:extLst>
                  <a:ext uri="{FF2B5EF4-FFF2-40B4-BE49-F238E27FC236}">
                    <a16:creationId xmlns:a16="http://schemas.microsoft.com/office/drawing/2014/main" id="{D68CDFB7-A5D5-7AFA-3800-1BEB8BFCEB89}"/>
                  </a:ext>
                </a:extLst>
              </p:cNvPr>
              <p:cNvSpPr/>
              <p:nvPr/>
            </p:nvSpPr>
            <p:spPr>
              <a:xfrm>
                <a:off x="-1528084" y="5983795"/>
                <a:ext cx="182880" cy="77752"/>
              </a:xfrm>
              <a:prstGeom prst="roundRect">
                <a:avLst/>
              </a:prstGeom>
              <a:solidFill>
                <a:srgbClr val="F339DD"/>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2" name="Group 41">
              <a:extLst>
                <a:ext uri="{FF2B5EF4-FFF2-40B4-BE49-F238E27FC236}">
                  <a16:creationId xmlns:a16="http://schemas.microsoft.com/office/drawing/2014/main" id="{589579A3-60A0-4F85-CB3A-1B783674A6C7}"/>
                </a:ext>
              </a:extLst>
            </p:cNvPr>
            <p:cNvGrpSpPr/>
            <p:nvPr/>
          </p:nvGrpSpPr>
          <p:grpSpPr>
            <a:xfrm>
              <a:off x="2471985" y="5315867"/>
              <a:ext cx="1980212" cy="155503"/>
              <a:chOff x="467360" y="5076746"/>
              <a:chExt cx="1980212" cy="155503"/>
            </a:xfrm>
          </p:grpSpPr>
          <p:sp>
            <p:nvSpPr>
              <p:cNvPr id="48" name="TextBox 47">
                <a:extLst>
                  <a:ext uri="{FF2B5EF4-FFF2-40B4-BE49-F238E27FC236}">
                    <a16:creationId xmlns:a16="http://schemas.microsoft.com/office/drawing/2014/main" id="{2D25C179-75E4-72D9-C149-FA37EB378842}"/>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MWRA South</a:t>
                </a:r>
              </a:p>
            </p:txBody>
          </p:sp>
          <p:sp>
            <p:nvSpPr>
              <p:cNvPr id="49" name="Rectangle: Rounded Corners 48">
                <a:extLst>
                  <a:ext uri="{FF2B5EF4-FFF2-40B4-BE49-F238E27FC236}">
                    <a16:creationId xmlns:a16="http://schemas.microsoft.com/office/drawing/2014/main" id="{F5EE5FBE-F8A3-290D-8A14-E84387B584DD}"/>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4" name="Group 43">
              <a:extLst>
                <a:ext uri="{FF2B5EF4-FFF2-40B4-BE49-F238E27FC236}">
                  <a16:creationId xmlns:a16="http://schemas.microsoft.com/office/drawing/2014/main" id="{7E72B696-F0BD-56EA-A52F-508091B96AD7}"/>
                </a:ext>
              </a:extLst>
            </p:cNvPr>
            <p:cNvGrpSpPr/>
            <p:nvPr/>
          </p:nvGrpSpPr>
          <p:grpSpPr>
            <a:xfrm>
              <a:off x="2471985" y="5542851"/>
              <a:ext cx="1980212" cy="155503"/>
              <a:chOff x="467360" y="5076746"/>
              <a:chExt cx="1980212" cy="155503"/>
            </a:xfrm>
          </p:grpSpPr>
          <p:sp>
            <p:nvSpPr>
              <p:cNvPr id="45" name="TextBox 44">
                <a:extLst>
                  <a:ext uri="{FF2B5EF4-FFF2-40B4-BE49-F238E27FC236}">
                    <a16:creationId xmlns:a16="http://schemas.microsoft.com/office/drawing/2014/main" id="{EE7D52EF-18E4-6785-3839-0D7684E82F45}"/>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eabody (South Essex Sewage)</a:t>
                </a:r>
              </a:p>
            </p:txBody>
          </p:sp>
          <p:sp>
            <p:nvSpPr>
              <p:cNvPr id="46" name="Rectangle: Rounded Corners 45">
                <a:extLst>
                  <a:ext uri="{FF2B5EF4-FFF2-40B4-BE49-F238E27FC236}">
                    <a16:creationId xmlns:a16="http://schemas.microsoft.com/office/drawing/2014/main" id="{3A6387A1-2D35-B7C3-195B-B88E05137744}"/>
                  </a:ext>
                </a:extLst>
              </p:cNvPr>
              <p:cNvSpPr/>
              <p:nvPr/>
            </p:nvSpPr>
            <p:spPr>
              <a:xfrm>
                <a:off x="467360" y="5115621"/>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57" name="TextBox 56">
              <a:extLst>
                <a:ext uri="{FF2B5EF4-FFF2-40B4-BE49-F238E27FC236}">
                  <a16:creationId xmlns:a16="http://schemas.microsoft.com/office/drawing/2014/main" id="{3B32822D-051A-F66A-3971-BECFA1698C62}"/>
                </a:ext>
              </a:extLst>
            </p:cNvPr>
            <p:cNvSpPr txBox="1"/>
            <p:nvPr/>
          </p:nvSpPr>
          <p:spPr>
            <a:xfrm>
              <a:off x="2698971" y="5755515"/>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Salem (South Essex Sewage)</a:t>
              </a:r>
            </a:p>
          </p:txBody>
        </p:sp>
        <p:sp>
          <p:nvSpPr>
            <p:cNvPr id="58" name="Rectangle: Rounded Corners 57">
              <a:extLst>
                <a:ext uri="{FF2B5EF4-FFF2-40B4-BE49-F238E27FC236}">
                  <a16:creationId xmlns:a16="http://schemas.microsoft.com/office/drawing/2014/main" id="{3F5A6B7A-18A4-D1A7-D83C-EB497F2FC73B}"/>
                </a:ext>
              </a:extLst>
            </p:cNvPr>
            <p:cNvSpPr/>
            <p:nvPr/>
          </p:nvSpPr>
          <p:spPr>
            <a:xfrm>
              <a:off x="2467549" y="5794390"/>
              <a:ext cx="182880" cy="77752"/>
            </a:xfrm>
            <a:prstGeom prst="roundRect">
              <a:avLst/>
            </a:prstGeom>
            <a:solidFill>
              <a:srgbClr val="00206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66" name="TextBox 65">
            <a:extLst>
              <a:ext uri="{FF2B5EF4-FFF2-40B4-BE49-F238E27FC236}">
                <a16:creationId xmlns:a16="http://schemas.microsoft.com/office/drawing/2014/main" id="{F0C34D39-E8CF-E3A9-9EB3-D0B7D1973D43}"/>
              </a:ext>
            </a:extLst>
          </p:cNvPr>
          <p:cNvSpPr txBox="1"/>
          <p:nvPr/>
        </p:nvSpPr>
        <p:spPr>
          <a:xfrm>
            <a:off x="4649290" y="5224689"/>
            <a:ext cx="4054763" cy="914462"/>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nvGrpSpPr>
          <p:cNvPr id="67" name="Group 66">
            <a:extLst>
              <a:ext uri="{FF2B5EF4-FFF2-40B4-BE49-F238E27FC236}">
                <a16:creationId xmlns:a16="http://schemas.microsoft.com/office/drawing/2014/main" id="{AFDF11F3-EF11-6CB8-8A6E-F0C6726A5123}"/>
              </a:ext>
            </a:extLst>
          </p:cNvPr>
          <p:cNvGrpSpPr/>
          <p:nvPr/>
        </p:nvGrpSpPr>
        <p:grpSpPr>
          <a:xfrm>
            <a:off x="4711700" y="5295186"/>
            <a:ext cx="1980212" cy="155503"/>
            <a:chOff x="467360" y="5287566"/>
            <a:chExt cx="1980212" cy="155503"/>
          </a:xfrm>
        </p:grpSpPr>
        <p:sp>
          <p:nvSpPr>
            <p:cNvPr id="68" name="TextBox 67">
              <a:extLst>
                <a:ext uri="{FF2B5EF4-FFF2-40B4-BE49-F238E27FC236}">
                  <a16:creationId xmlns:a16="http://schemas.microsoft.com/office/drawing/2014/main" id="{23B4AB39-C81D-2EEB-EEFD-A9031E04F43E}"/>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Brockton</a:t>
              </a:r>
            </a:p>
          </p:txBody>
        </p:sp>
        <p:sp>
          <p:nvSpPr>
            <p:cNvPr id="69" name="Rectangle: Rounded Corners 68">
              <a:extLst>
                <a:ext uri="{FF2B5EF4-FFF2-40B4-BE49-F238E27FC236}">
                  <a16:creationId xmlns:a16="http://schemas.microsoft.com/office/drawing/2014/main" id="{C0188206-80CC-DB27-20DA-8EB7E8CBD77C}"/>
                </a:ext>
              </a:extLst>
            </p:cNvPr>
            <p:cNvSpPr/>
            <p:nvPr/>
          </p:nvSpPr>
          <p:spPr>
            <a:xfrm>
              <a:off x="46736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70" name="Group 69">
            <a:extLst>
              <a:ext uri="{FF2B5EF4-FFF2-40B4-BE49-F238E27FC236}">
                <a16:creationId xmlns:a16="http://schemas.microsoft.com/office/drawing/2014/main" id="{8DBDB6EE-60D1-CBC1-0CE8-B13E136A9E61}"/>
              </a:ext>
            </a:extLst>
          </p:cNvPr>
          <p:cNvGrpSpPr/>
          <p:nvPr/>
        </p:nvGrpSpPr>
        <p:grpSpPr>
          <a:xfrm>
            <a:off x="4711700" y="5522170"/>
            <a:ext cx="1980212" cy="155503"/>
            <a:chOff x="467360" y="5287566"/>
            <a:chExt cx="1980212" cy="155503"/>
          </a:xfrm>
        </p:grpSpPr>
        <p:sp>
          <p:nvSpPr>
            <p:cNvPr id="71" name="TextBox 70">
              <a:extLst>
                <a:ext uri="{FF2B5EF4-FFF2-40B4-BE49-F238E27FC236}">
                  <a16:creationId xmlns:a16="http://schemas.microsoft.com/office/drawing/2014/main" id="{C8DEB956-CE64-BA4A-0889-73FE2E16EB6B}"/>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Hull</a:t>
              </a:r>
            </a:p>
          </p:txBody>
        </p:sp>
        <p:sp>
          <p:nvSpPr>
            <p:cNvPr id="72" name="Rectangle: Rounded Corners 71">
              <a:extLst>
                <a:ext uri="{FF2B5EF4-FFF2-40B4-BE49-F238E27FC236}">
                  <a16:creationId xmlns:a16="http://schemas.microsoft.com/office/drawing/2014/main" id="{996D3CE2-36D9-FB43-2228-ACF397DBADC4}"/>
                </a:ext>
              </a:extLst>
            </p:cNvPr>
            <p:cNvSpPr/>
            <p:nvPr/>
          </p:nvSpPr>
          <p:spPr>
            <a:xfrm>
              <a:off x="46736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82" name="Group 81">
            <a:extLst>
              <a:ext uri="{FF2B5EF4-FFF2-40B4-BE49-F238E27FC236}">
                <a16:creationId xmlns:a16="http://schemas.microsoft.com/office/drawing/2014/main" id="{880401D4-511E-92C6-3CEC-448EC68E7CDF}"/>
              </a:ext>
            </a:extLst>
          </p:cNvPr>
          <p:cNvGrpSpPr/>
          <p:nvPr/>
        </p:nvGrpSpPr>
        <p:grpSpPr>
          <a:xfrm>
            <a:off x="6708705" y="5308247"/>
            <a:ext cx="1980212" cy="155503"/>
            <a:chOff x="467360" y="5076746"/>
            <a:chExt cx="1980212" cy="155503"/>
          </a:xfrm>
        </p:grpSpPr>
        <p:sp>
          <p:nvSpPr>
            <p:cNvPr id="85" name="TextBox 84">
              <a:extLst>
                <a:ext uri="{FF2B5EF4-FFF2-40B4-BE49-F238E27FC236}">
                  <a16:creationId xmlns:a16="http://schemas.microsoft.com/office/drawing/2014/main" id="{052EF18E-5CED-24BE-2AB7-681F43E8A7C2}"/>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lymouth</a:t>
              </a:r>
            </a:p>
          </p:txBody>
        </p:sp>
        <p:sp>
          <p:nvSpPr>
            <p:cNvPr id="86" name="Rectangle: Rounded Corners 85">
              <a:extLst>
                <a:ext uri="{FF2B5EF4-FFF2-40B4-BE49-F238E27FC236}">
                  <a16:creationId xmlns:a16="http://schemas.microsoft.com/office/drawing/2014/main" id="{B18EC42C-798E-388C-003F-5A553E6839CD}"/>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95" name="Group 94">
            <a:extLst>
              <a:ext uri="{FF2B5EF4-FFF2-40B4-BE49-F238E27FC236}">
                <a16:creationId xmlns:a16="http://schemas.microsoft.com/office/drawing/2014/main" id="{873D8F3C-754F-4BC9-7BEE-ED977157FB41}"/>
              </a:ext>
            </a:extLst>
          </p:cNvPr>
          <p:cNvGrpSpPr/>
          <p:nvPr/>
        </p:nvGrpSpPr>
        <p:grpSpPr>
          <a:xfrm>
            <a:off x="6708705" y="5535231"/>
            <a:ext cx="1980212" cy="155503"/>
            <a:chOff x="467360" y="5076746"/>
            <a:chExt cx="1980212" cy="155503"/>
          </a:xfrm>
        </p:grpSpPr>
        <p:sp>
          <p:nvSpPr>
            <p:cNvPr id="96" name="TextBox 95">
              <a:extLst>
                <a:ext uri="{FF2B5EF4-FFF2-40B4-BE49-F238E27FC236}">
                  <a16:creationId xmlns:a16="http://schemas.microsoft.com/office/drawing/2014/main" id="{48381BF2-7B2B-3E01-9EC2-79FB142F3208}"/>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rovincetown</a:t>
              </a:r>
            </a:p>
          </p:txBody>
        </p:sp>
        <p:sp>
          <p:nvSpPr>
            <p:cNvPr id="97" name="Rectangle: Rounded Corners 96">
              <a:extLst>
                <a:ext uri="{FF2B5EF4-FFF2-40B4-BE49-F238E27FC236}">
                  <a16:creationId xmlns:a16="http://schemas.microsoft.com/office/drawing/2014/main" id="{47659015-0259-A4D8-926D-C2A4AB73187B}"/>
                </a:ext>
              </a:extLst>
            </p:cNvPr>
            <p:cNvSpPr/>
            <p:nvPr/>
          </p:nvSpPr>
          <p:spPr>
            <a:xfrm>
              <a:off x="467360" y="5115621"/>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98" name="TextBox 97">
            <a:extLst>
              <a:ext uri="{FF2B5EF4-FFF2-40B4-BE49-F238E27FC236}">
                <a16:creationId xmlns:a16="http://schemas.microsoft.com/office/drawing/2014/main" id="{3C9BDCBA-C25C-9CA0-A602-DB0348FE5F34}"/>
              </a:ext>
            </a:extLst>
          </p:cNvPr>
          <p:cNvSpPr txBox="1"/>
          <p:nvPr/>
        </p:nvSpPr>
        <p:spPr>
          <a:xfrm>
            <a:off x="6935691" y="5747895"/>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Wareham</a:t>
            </a:r>
          </a:p>
        </p:txBody>
      </p:sp>
      <p:sp>
        <p:nvSpPr>
          <p:cNvPr id="99" name="Rectangle: Rounded Corners 98">
            <a:extLst>
              <a:ext uri="{FF2B5EF4-FFF2-40B4-BE49-F238E27FC236}">
                <a16:creationId xmlns:a16="http://schemas.microsoft.com/office/drawing/2014/main" id="{31AEC03D-A502-B267-D257-154CD216CF23}"/>
              </a:ext>
            </a:extLst>
          </p:cNvPr>
          <p:cNvSpPr/>
          <p:nvPr/>
        </p:nvSpPr>
        <p:spPr>
          <a:xfrm>
            <a:off x="6704269" y="5786770"/>
            <a:ext cx="182880" cy="77752"/>
          </a:xfrm>
          <a:prstGeom prst="roundRect">
            <a:avLst/>
          </a:prstGeom>
          <a:solidFill>
            <a:srgbClr val="00206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59" name="Chart 58">
            <a:extLst>
              <a:ext uri="{FF2B5EF4-FFF2-40B4-BE49-F238E27FC236}">
                <a16:creationId xmlns:a16="http://schemas.microsoft.com/office/drawing/2014/main" id="{E2D8ED1B-7DD4-AFAE-4C65-6031A1FC5F3D}"/>
              </a:ext>
            </a:extLst>
          </p:cNvPr>
          <p:cNvGraphicFramePr/>
          <p:nvPr/>
        </p:nvGraphicFramePr>
        <p:xfrm>
          <a:off x="76434" y="1321028"/>
          <a:ext cx="4501468" cy="390291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741537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across MA treatment plants</a:t>
            </a:r>
          </a:p>
        </p:txBody>
      </p:sp>
      <p:sp>
        <p:nvSpPr>
          <p:cNvPr id="55" name="Sticker">
            <a:extLst>
              <a:ext uri="{FF2B5EF4-FFF2-40B4-BE49-F238E27FC236}">
                <a16:creationId xmlns:a16="http://schemas.microsoft.com/office/drawing/2014/main" id="{4060F086-018D-4FE8-B182-1ED99D95F42C}"/>
              </a:ext>
            </a:extLst>
          </p:cNvPr>
          <p:cNvSpPr txBox="1"/>
          <p:nvPr/>
        </p:nvSpPr>
        <p:spPr>
          <a:xfrm>
            <a:off x="416052" y="556544"/>
            <a:ext cx="2376575" cy="123111"/>
          </a:xfrm>
          <a:prstGeom prst="rect">
            <a:avLst/>
          </a:prstGeom>
          <a:noFill/>
          <a:ln w="6350">
            <a:noFill/>
            <a:miter lim="800000"/>
          </a:ln>
        </p:spPr>
        <p:txBody>
          <a:bodyPr vert="horz" wrap="square" lIns="0" tIns="0" rIns="0" bIns="0" rtlCol="0" anchor="t">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all" spc="0" normalizeH="0" baseline="0" noProof="0" dirty="0">
                <a:ln>
                  <a:noFill/>
                </a:ln>
                <a:solidFill>
                  <a:srgbClr val="000000"/>
                </a:solidFill>
                <a:effectLst/>
                <a:uLnTx/>
                <a:uFillTx/>
                <a:latin typeface="Arial"/>
                <a:ea typeface="+mn-ea"/>
                <a:cs typeface="+mn-cs"/>
              </a:rPr>
              <a:t>LAST UPDATED ON August 11, 2022</a:t>
            </a:r>
          </a:p>
        </p:txBody>
      </p:sp>
      <p:sp>
        <p:nvSpPr>
          <p:cNvPr id="33" name="TextBox 32">
            <a:extLst>
              <a:ext uri="{FF2B5EF4-FFF2-40B4-BE49-F238E27FC236}">
                <a16:creationId xmlns:a16="http://schemas.microsoft.com/office/drawing/2014/main" id="{E184365A-F166-4DE1-A88B-C72454F0C1DE}"/>
              </a:ext>
            </a:extLst>
          </p:cNvPr>
          <p:cNvSpPr txBox="1"/>
          <p:nvPr/>
        </p:nvSpPr>
        <p:spPr>
          <a:xfrm>
            <a:off x="374742" y="6146771"/>
            <a:ext cx="8596883" cy="507831"/>
          </a:xfrm>
          <a:prstGeom prst="rect">
            <a:avLst/>
          </a:prstGeom>
          <a:noFill/>
          <a:ln w="6350">
            <a:noFill/>
            <a:miter lim="800000"/>
          </a:ln>
        </p:spPr>
        <p:txBody>
          <a:bodyPr wrap="square">
            <a:spAutoFit/>
          </a:bodyPr>
          <a:lstStyle/>
          <a:p>
            <a:r>
              <a:rPr lang="en-US" sz="900" dirty="0"/>
              <a:t>Samples are currently taken 2 - 7 times a week and analyzed by Biobot Analytics, a wastewater epidemiology company based in Cambridge, MA. The graphs represent the “7-day averages” which are the average viral copies over the past 7 days in each treatment plant. </a:t>
            </a:r>
          </a:p>
          <a:p>
            <a:r>
              <a:rPr lang="en-US" sz="900" i="1" dirty="0"/>
              <a:t>MWRA data:  https://www.mwra.com/biobot/biobotdata.htm</a:t>
            </a:r>
          </a:p>
        </p:txBody>
      </p:sp>
      <p:grpSp>
        <p:nvGrpSpPr>
          <p:cNvPr id="19" name="Group 18">
            <a:extLst>
              <a:ext uri="{FF2B5EF4-FFF2-40B4-BE49-F238E27FC236}">
                <a16:creationId xmlns:a16="http://schemas.microsoft.com/office/drawing/2014/main" id="{F3AD75BB-BC84-34B9-5F09-323EF0403E38}"/>
              </a:ext>
            </a:extLst>
          </p:cNvPr>
          <p:cNvGrpSpPr/>
          <p:nvPr/>
        </p:nvGrpSpPr>
        <p:grpSpPr>
          <a:xfrm>
            <a:off x="76026" y="833362"/>
            <a:ext cx="4501468" cy="5191276"/>
            <a:chOff x="76026" y="833362"/>
            <a:chExt cx="4501468" cy="5191276"/>
          </a:xfrm>
        </p:grpSpPr>
        <p:grpSp>
          <p:nvGrpSpPr>
            <p:cNvPr id="7" name="Group 6">
              <a:extLst>
                <a:ext uri="{FF2B5EF4-FFF2-40B4-BE49-F238E27FC236}">
                  <a16:creationId xmlns:a16="http://schemas.microsoft.com/office/drawing/2014/main" id="{4A303FC3-63FB-3547-EEFB-3679E275304B}"/>
                </a:ext>
              </a:extLst>
            </p:cNvPr>
            <p:cNvGrpSpPr/>
            <p:nvPr/>
          </p:nvGrpSpPr>
          <p:grpSpPr>
            <a:xfrm>
              <a:off x="420189" y="833362"/>
              <a:ext cx="4054765" cy="5191276"/>
              <a:chOff x="416051" y="1177325"/>
              <a:chExt cx="4054765" cy="4843316"/>
            </a:xfrm>
          </p:grpSpPr>
          <p:sp>
            <p:nvSpPr>
              <p:cNvPr id="3" name="Rectangle 2">
                <a:extLst>
                  <a:ext uri="{FF2B5EF4-FFF2-40B4-BE49-F238E27FC236}">
                    <a16:creationId xmlns:a16="http://schemas.microsoft.com/office/drawing/2014/main" id="{12990877-6F79-A466-A3A3-3E3D26382FDA}"/>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extBox 3">
                <a:extLst>
                  <a:ext uri="{FF2B5EF4-FFF2-40B4-BE49-F238E27FC236}">
                    <a16:creationId xmlns:a16="http://schemas.microsoft.com/office/drawing/2014/main" id="{0D4394EC-E30C-6F74-1A9A-60A4B68F88B7}"/>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Central MA 7-Day Averages</a:t>
                </a:r>
              </a:p>
              <a:p>
                <a:pPr algn="ctr">
                  <a:spcBef>
                    <a:spcPts val="300"/>
                  </a:spcBef>
                  <a:spcAft>
                    <a:spcPts val="300"/>
                  </a:spcAft>
                  <a:buNone/>
                </a:pPr>
                <a:r>
                  <a:rPr lang="en-US" sz="1200" dirty="0">
                    <a:solidFill>
                      <a:schemeClr val="bg1"/>
                    </a:solidFill>
                  </a:rPr>
                  <a:t>June 14, 2022 – August 9, 2022</a:t>
                </a:r>
              </a:p>
            </p:txBody>
          </p:sp>
          <p:sp>
            <p:nvSpPr>
              <p:cNvPr id="6" name="TextBox 5">
                <a:extLst>
                  <a:ext uri="{FF2B5EF4-FFF2-40B4-BE49-F238E27FC236}">
                    <a16:creationId xmlns:a16="http://schemas.microsoft.com/office/drawing/2014/main" id="{0D64BCC6-ECFF-34C6-0A0C-81B308A682ED}"/>
                  </a:ext>
                </a:extLst>
              </p:cNvPr>
              <p:cNvSpPr txBox="1"/>
              <p:nvPr/>
            </p:nvSpPr>
            <p:spPr>
              <a:xfrm>
                <a:off x="416052" y="5281422"/>
                <a:ext cx="4054763" cy="739219"/>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61" name="Chart 60">
              <a:extLst>
                <a:ext uri="{FF2B5EF4-FFF2-40B4-BE49-F238E27FC236}">
                  <a16:creationId xmlns:a16="http://schemas.microsoft.com/office/drawing/2014/main" id="{C70BC727-0A87-C5A6-2B12-08B947A8B479}"/>
                </a:ext>
              </a:extLst>
            </p:cNvPr>
            <p:cNvGraphicFramePr/>
            <p:nvPr/>
          </p:nvGraphicFramePr>
          <p:xfrm>
            <a:off x="76026" y="1329400"/>
            <a:ext cx="4501468" cy="3902910"/>
          </p:xfrm>
          <a:graphic>
            <a:graphicData uri="http://schemas.openxmlformats.org/drawingml/2006/chart">
              <c:chart xmlns:c="http://schemas.openxmlformats.org/drawingml/2006/chart" xmlns:r="http://schemas.openxmlformats.org/officeDocument/2006/relationships" r:id="rId8"/>
            </a:graphicData>
          </a:graphic>
        </p:graphicFrame>
      </p:grpSp>
      <p:grpSp>
        <p:nvGrpSpPr>
          <p:cNvPr id="53" name="Group 52">
            <a:extLst>
              <a:ext uri="{FF2B5EF4-FFF2-40B4-BE49-F238E27FC236}">
                <a16:creationId xmlns:a16="http://schemas.microsoft.com/office/drawing/2014/main" id="{918341B3-0F17-214A-4BAC-2EF7C2085C50}"/>
              </a:ext>
            </a:extLst>
          </p:cNvPr>
          <p:cNvGrpSpPr/>
          <p:nvPr/>
        </p:nvGrpSpPr>
        <p:grpSpPr>
          <a:xfrm>
            <a:off x="4305126" y="833362"/>
            <a:ext cx="4501468" cy="5191275"/>
            <a:chOff x="76026" y="833362"/>
            <a:chExt cx="4501468" cy="5191275"/>
          </a:xfrm>
        </p:grpSpPr>
        <p:grpSp>
          <p:nvGrpSpPr>
            <p:cNvPr id="54" name="Group 53">
              <a:extLst>
                <a:ext uri="{FF2B5EF4-FFF2-40B4-BE49-F238E27FC236}">
                  <a16:creationId xmlns:a16="http://schemas.microsoft.com/office/drawing/2014/main" id="{CA7121D5-483E-AF9E-84D8-EF4C43429128}"/>
                </a:ext>
              </a:extLst>
            </p:cNvPr>
            <p:cNvGrpSpPr/>
            <p:nvPr/>
          </p:nvGrpSpPr>
          <p:grpSpPr>
            <a:xfrm>
              <a:off x="420189" y="833362"/>
              <a:ext cx="4054765" cy="5191275"/>
              <a:chOff x="416051" y="1177325"/>
              <a:chExt cx="4054765" cy="4843316"/>
            </a:xfrm>
          </p:grpSpPr>
          <p:sp>
            <p:nvSpPr>
              <p:cNvPr id="79" name="Rectangle 78">
                <a:extLst>
                  <a:ext uri="{FF2B5EF4-FFF2-40B4-BE49-F238E27FC236}">
                    <a16:creationId xmlns:a16="http://schemas.microsoft.com/office/drawing/2014/main" id="{246BAA84-77C4-1ED6-76D1-1AA74A535853}"/>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0" name="TextBox 79">
                <a:extLst>
                  <a:ext uri="{FF2B5EF4-FFF2-40B4-BE49-F238E27FC236}">
                    <a16:creationId xmlns:a16="http://schemas.microsoft.com/office/drawing/2014/main" id="{7A80606D-E1A1-8EE5-E7A4-C155A41DCDC1}"/>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West MA 7-Day Averages</a:t>
                </a:r>
              </a:p>
              <a:p>
                <a:pPr algn="ctr">
                  <a:spcBef>
                    <a:spcPts val="300"/>
                  </a:spcBef>
                  <a:spcAft>
                    <a:spcPts val="300"/>
                  </a:spcAft>
                  <a:buNone/>
                </a:pPr>
                <a:r>
                  <a:rPr lang="en-US" sz="1200" dirty="0">
                    <a:solidFill>
                      <a:schemeClr val="bg1"/>
                    </a:solidFill>
                  </a:rPr>
                  <a:t>June 14, 2022 – August 9, 2022</a:t>
                </a:r>
              </a:p>
            </p:txBody>
          </p:sp>
          <p:sp>
            <p:nvSpPr>
              <p:cNvPr id="81" name="TextBox 80">
                <a:extLst>
                  <a:ext uri="{FF2B5EF4-FFF2-40B4-BE49-F238E27FC236}">
                    <a16:creationId xmlns:a16="http://schemas.microsoft.com/office/drawing/2014/main" id="{27CFF61E-C91E-A294-AAF8-6B62FA3C2352}"/>
                  </a:ext>
                </a:extLst>
              </p:cNvPr>
              <p:cNvSpPr txBox="1"/>
              <p:nvPr/>
            </p:nvSpPr>
            <p:spPr>
              <a:xfrm>
                <a:off x="416052" y="5281422"/>
                <a:ext cx="4054763" cy="739219"/>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56" name="Chart 55">
              <a:extLst>
                <a:ext uri="{FF2B5EF4-FFF2-40B4-BE49-F238E27FC236}">
                  <a16:creationId xmlns:a16="http://schemas.microsoft.com/office/drawing/2014/main" id="{F9977055-568F-013A-7D4D-C8CC754D74E1}"/>
                </a:ext>
              </a:extLst>
            </p:cNvPr>
            <p:cNvGraphicFramePr/>
            <p:nvPr/>
          </p:nvGraphicFramePr>
          <p:xfrm>
            <a:off x="76026" y="1329400"/>
            <a:ext cx="4501468" cy="3902910"/>
          </p:xfrm>
          <a:graphic>
            <a:graphicData uri="http://schemas.openxmlformats.org/drawingml/2006/chart">
              <c:chart xmlns:c="http://schemas.openxmlformats.org/drawingml/2006/chart" xmlns:r="http://schemas.openxmlformats.org/officeDocument/2006/relationships" r:id="rId9"/>
            </a:graphicData>
          </a:graphic>
        </p:graphicFrame>
      </p:grpSp>
      <p:sp>
        <p:nvSpPr>
          <p:cNvPr id="45" name="Rectangle 44">
            <a:extLst>
              <a:ext uri="{FF2B5EF4-FFF2-40B4-BE49-F238E27FC236}">
                <a16:creationId xmlns:a16="http://schemas.microsoft.com/office/drawing/2014/main" id="{12F5C3E8-1126-B342-33FC-8E5C3E0D62EB}"/>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nvGrpSpPr>
          <p:cNvPr id="51" name="Group 50">
            <a:extLst>
              <a:ext uri="{FF2B5EF4-FFF2-40B4-BE49-F238E27FC236}">
                <a16:creationId xmlns:a16="http://schemas.microsoft.com/office/drawing/2014/main" id="{9B638569-62DF-AE6D-A499-2CF48A4DEBF2}"/>
              </a:ext>
            </a:extLst>
          </p:cNvPr>
          <p:cNvGrpSpPr/>
          <p:nvPr/>
        </p:nvGrpSpPr>
        <p:grpSpPr>
          <a:xfrm>
            <a:off x="474980" y="5302806"/>
            <a:ext cx="3991831" cy="609471"/>
            <a:chOff x="474980" y="5302806"/>
            <a:chExt cx="3991831" cy="609471"/>
          </a:xfrm>
        </p:grpSpPr>
        <p:grpSp>
          <p:nvGrpSpPr>
            <p:cNvPr id="52" name="Group 51">
              <a:extLst>
                <a:ext uri="{FF2B5EF4-FFF2-40B4-BE49-F238E27FC236}">
                  <a16:creationId xmlns:a16="http://schemas.microsoft.com/office/drawing/2014/main" id="{89759490-A701-852C-A81D-35926197D097}"/>
                </a:ext>
              </a:extLst>
            </p:cNvPr>
            <p:cNvGrpSpPr/>
            <p:nvPr/>
          </p:nvGrpSpPr>
          <p:grpSpPr>
            <a:xfrm>
              <a:off x="474980" y="5302806"/>
              <a:ext cx="1980212" cy="155503"/>
              <a:chOff x="467360" y="5287566"/>
              <a:chExt cx="1980212" cy="155503"/>
            </a:xfrm>
          </p:grpSpPr>
          <p:sp>
            <p:nvSpPr>
              <p:cNvPr id="77" name="TextBox 76">
                <a:extLst>
                  <a:ext uri="{FF2B5EF4-FFF2-40B4-BE49-F238E27FC236}">
                    <a16:creationId xmlns:a16="http://schemas.microsoft.com/office/drawing/2014/main" id="{758334B5-14FC-8949-68D8-0F89FD2855A7}"/>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Athol</a:t>
                </a:r>
              </a:p>
            </p:txBody>
          </p:sp>
          <p:sp>
            <p:nvSpPr>
              <p:cNvPr id="78" name="Rectangle: Rounded Corners 77">
                <a:extLst>
                  <a:ext uri="{FF2B5EF4-FFF2-40B4-BE49-F238E27FC236}">
                    <a16:creationId xmlns:a16="http://schemas.microsoft.com/office/drawing/2014/main" id="{912B4AD4-D3ED-3D74-7AB2-47588DB40CA2}"/>
                  </a:ext>
                </a:extLst>
              </p:cNvPr>
              <p:cNvSpPr/>
              <p:nvPr/>
            </p:nvSpPr>
            <p:spPr>
              <a:xfrm>
                <a:off x="46736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75" name="TextBox 74">
              <a:extLst>
                <a:ext uri="{FF2B5EF4-FFF2-40B4-BE49-F238E27FC236}">
                  <a16:creationId xmlns:a16="http://schemas.microsoft.com/office/drawing/2014/main" id="{5D245732-91EF-4207-FE64-9A38364FA8A2}"/>
                </a:ext>
              </a:extLst>
            </p:cNvPr>
            <p:cNvSpPr txBox="1"/>
            <p:nvPr/>
          </p:nvSpPr>
          <p:spPr>
            <a:xfrm>
              <a:off x="687352" y="552979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endParaRPr lang="en-US" sz="900" dirty="0"/>
            </a:p>
          </p:txBody>
        </p:sp>
        <p:grpSp>
          <p:nvGrpSpPr>
            <p:cNvPr id="58" name="Group 57">
              <a:extLst>
                <a:ext uri="{FF2B5EF4-FFF2-40B4-BE49-F238E27FC236}">
                  <a16:creationId xmlns:a16="http://schemas.microsoft.com/office/drawing/2014/main" id="{B55554A9-8A4C-7859-B5D6-5DFCB029CA27}"/>
                </a:ext>
              </a:extLst>
            </p:cNvPr>
            <p:cNvGrpSpPr/>
            <p:nvPr/>
          </p:nvGrpSpPr>
          <p:grpSpPr>
            <a:xfrm>
              <a:off x="474980" y="5756774"/>
              <a:ext cx="1980212" cy="155503"/>
              <a:chOff x="467360" y="5287566"/>
              <a:chExt cx="1980212" cy="155503"/>
            </a:xfrm>
          </p:grpSpPr>
          <p:sp>
            <p:nvSpPr>
              <p:cNvPr id="73" name="TextBox 72">
                <a:extLst>
                  <a:ext uri="{FF2B5EF4-FFF2-40B4-BE49-F238E27FC236}">
                    <a16:creationId xmlns:a16="http://schemas.microsoft.com/office/drawing/2014/main" id="{74C4BD77-D253-7905-CED6-3F9317683859}"/>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East Fitchburg</a:t>
                </a:r>
              </a:p>
            </p:txBody>
          </p:sp>
          <p:sp>
            <p:nvSpPr>
              <p:cNvPr id="74" name="Rectangle: Rounded Corners 73">
                <a:extLst>
                  <a:ext uri="{FF2B5EF4-FFF2-40B4-BE49-F238E27FC236}">
                    <a16:creationId xmlns:a16="http://schemas.microsoft.com/office/drawing/2014/main" id="{2B26C60E-7A96-97D3-0446-06C75C1D4DFF}"/>
                  </a:ext>
                </a:extLst>
              </p:cNvPr>
              <p:cNvSpPr/>
              <p:nvPr/>
            </p:nvSpPr>
            <p:spPr>
              <a:xfrm>
                <a:off x="467360" y="5326441"/>
                <a:ext cx="182880" cy="77752"/>
              </a:xfrm>
              <a:prstGeom prst="roundRect">
                <a:avLst/>
              </a:prstGeom>
              <a:solidFill>
                <a:schemeClr val="accent3">
                  <a:lumMod val="50000"/>
                </a:schemeClr>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60" name="Group 59">
              <a:extLst>
                <a:ext uri="{FF2B5EF4-FFF2-40B4-BE49-F238E27FC236}">
                  <a16:creationId xmlns:a16="http://schemas.microsoft.com/office/drawing/2014/main" id="{42A4D51B-4EB1-7821-C60C-33C118FD05EC}"/>
                </a:ext>
              </a:extLst>
            </p:cNvPr>
            <p:cNvGrpSpPr/>
            <p:nvPr/>
          </p:nvGrpSpPr>
          <p:grpSpPr>
            <a:xfrm>
              <a:off x="2471985" y="5315867"/>
              <a:ext cx="1980212" cy="155503"/>
              <a:chOff x="467360" y="5076746"/>
              <a:chExt cx="1980212" cy="155503"/>
            </a:xfrm>
          </p:grpSpPr>
          <p:sp>
            <p:nvSpPr>
              <p:cNvPr id="69" name="TextBox 68">
                <a:extLst>
                  <a:ext uri="{FF2B5EF4-FFF2-40B4-BE49-F238E27FC236}">
                    <a16:creationId xmlns:a16="http://schemas.microsoft.com/office/drawing/2014/main" id="{D011D84D-CE77-37C1-97FD-DE0DF9B29821}"/>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North Brookfield</a:t>
                </a:r>
              </a:p>
            </p:txBody>
          </p:sp>
          <p:sp>
            <p:nvSpPr>
              <p:cNvPr id="70" name="Rectangle: Rounded Corners 69">
                <a:extLst>
                  <a:ext uri="{FF2B5EF4-FFF2-40B4-BE49-F238E27FC236}">
                    <a16:creationId xmlns:a16="http://schemas.microsoft.com/office/drawing/2014/main" id="{A39E4CC9-79B3-C31A-668E-B6DB1B6AF4B6}"/>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62" name="Group 61">
              <a:extLst>
                <a:ext uri="{FF2B5EF4-FFF2-40B4-BE49-F238E27FC236}">
                  <a16:creationId xmlns:a16="http://schemas.microsoft.com/office/drawing/2014/main" id="{891FD415-1503-1061-587A-C728CDE66A33}"/>
                </a:ext>
              </a:extLst>
            </p:cNvPr>
            <p:cNvGrpSpPr/>
            <p:nvPr/>
          </p:nvGrpSpPr>
          <p:grpSpPr>
            <a:xfrm>
              <a:off x="2471985" y="5542851"/>
              <a:ext cx="1980212" cy="155503"/>
              <a:chOff x="467360" y="5076746"/>
              <a:chExt cx="1980212" cy="155503"/>
            </a:xfrm>
          </p:grpSpPr>
          <p:sp>
            <p:nvSpPr>
              <p:cNvPr id="67" name="TextBox 66">
                <a:extLst>
                  <a:ext uri="{FF2B5EF4-FFF2-40B4-BE49-F238E27FC236}">
                    <a16:creationId xmlns:a16="http://schemas.microsoft.com/office/drawing/2014/main" id="{615084B6-4A84-7A72-216F-73F8863575F9}"/>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Upper Blackstone</a:t>
                </a:r>
              </a:p>
            </p:txBody>
          </p:sp>
          <p:sp>
            <p:nvSpPr>
              <p:cNvPr id="68" name="Rectangle: Rounded Corners 67">
                <a:extLst>
                  <a:ext uri="{FF2B5EF4-FFF2-40B4-BE49-F238E27FC236}">
                    <a16:creationId xmlns:a16="http://schemas.microsoft.com/office/drawing/2014/main" id="{8AC4E05C-BDD4-ED33-9061-8A5275D5CAFD}"/>
                  </a:ext>
                </a:extLst>
              </p:cNvPr>
              <p:cNvSpPr/>
              <p:nvPr/>
            </p:nvSpPr>
            <p:spPr>
              <a:xfrm>
                <a:off x="467360" y="5115621"/>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63" name="TextBox 62">
              <a:extLst>
                <a:ext uri="{FF2B5EF4-FFF2-40B4-BE49-F238E27FC236}">
                  <a16:creationId xmlns:a16="http://schemas.microsoft.com/office/drawing/2014/main" id="{19524825-23AF-EEA9-A78B-7C3FA427DC43}"/>
                </a:ext>
              </a:extLst>
            </p:cNvPr>
            <p:cNvSpPr txBox="1"/>
            <p:nvPr/>
          </p:nvSpPr>
          <p:spPr>
            <a:xfrm>
              <a:off x="2698971" y="5755515"/>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Uxbridge</a:t>
              </a:r>
            </a:p>
          </p:txBody>
        </p:sp>
        <p:sp>
          <p:nvSpPr>
            <p:cNvPr id="66" name="Rectangle: Rounded Corners 65">
              <a:extLst>
                <a:ext uri="{FF2B5EF4-FFF2-40B4-BE49-F238E27FC236}">
                  <a16:creationId xmlns:a16="http://schemas.microsoft.com/office/drawing/2014/main" id="{0B3DB40E-BBC3-E4B9-99EB-1DCB3898792C}"/>
                </a:ext>
              </a:extLst>
            </p:cNvPr>
            <p:cNvSpPr/>
            <p:nvPr/>
          </p:nvSpPr>
          <p:spPr>
            <a:xfrm>
              <a:off x="2467549" y="5794390"/>
              <a:ext cx="182880" cy="77752"/>
            </a:xfrm>
            <a:prstGeom prst="roundRect">
              <a:avLst/>
            </a:prstGeom>
            <a:solidFill>
              <a:srgbClr val="00206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4" name="Group 103">
            <a:extLst>
              <a:ext uri="{FF2B5EF4-FFF2-40B4-BE49-F238E27FC236}">
                <a16:creationId xmlns:a16="http://schemas.microsoft.com/office/drawing/2014/main" id="{2B75F6F5-5317-2B56-15DC-CA5DAE6F3170}"/>
              </a:ext>
            </a:extLst>
          </p:cNvPr>
          <p:cNvGrpSpPr/>
          <p:nvPr/>
        </p:nvGrpSpPr>
        <p:grpSpPr>
          <a:xfrm>
            <a:off x="4734560" y="5279946"/>
            <a:ext cx="4476689" cy="715986"/>
            <a:chOff x="474980" y="5302806"/>
            <a:chExt cx="4476689" cy="715986"/>
          </a:xfrm>
        </p:grpSpPr>
        <p:grpSp>
          <p:nvGrpSpPr>
            <p:cNvPr id="105" name="Group 104">
              <a:extLst>
                <a:ext uri="{FF2B5EF4-FFF2-40B4-BE49-F238E27FC236}">
                  <a16:creationId xmlns:a16="http://schemas.microsoft.com/office/drawing/2014/main" id="{D1A5FE33-E4C8-8C92-9293-CD9C35DA96B8}"/>
                </a:ext>
              </a:extLst>
            </p:cNvPr>
            <p:cNvGrpSpPr/>
            <p:nvPr/>
          </p:nvGrpSpPr>
          <p:grpSpPr>
            <a:xfrm>
              <a:off x="474980" y="5302806"/>
              <a:ext cx="1980212" cy="155503"/>
              <a:chOff x="467360" y="5287566"/>
              <a:chExt cx="1980212" cy="155503"/>
            </a:xfrm>
          </p:grpSpPr>
          <p:sp>
            <p:nvSpPr>
              <p:cNvPr id="123" name="TextBox 122">
                <a:extLst>
                  <a:ext uri="{FF2B5EF4-FFF2-40B4-BE49-F238E27FC236}">
                    <a16:creationId xmlns:a16="http://schemas.microsoft.com/office/drawing/2014/main" id="{6F504E15-AF55-A950-6586-94C987176A86}"/>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Amherst</a:t>
                </a:r>
              </a:p>
            </p:txBody>
          </p:sp>
          <p:sp>
            <p:nvSpPr>
              <p:cNvPr id="124" name="Rectangle: Rounded Corners 123">
                <a:extLst>
                  <a:ext uri="{FF2B5EF4-FFF2-40B4-BE49-F238E27FC236}">
                    <a16:creationId xmlns:a16="http://schemas.microsoft.com/office/drawing/2014/main" id="{07FE85EB-FF2A-4402-4391-5E14B3C8617D}"/>
                  </a:ext>
                </a:extLst>
              </p:cNvPr>
              <p:cNvSpPr/>
              <p:nvPr/>
            </p:nvSpPr>
            <p:spPr>
              <a:xfrm>
                <a:off x="46736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6" name="Group 105">
              <a:extLst>
                <a:ext uri="{FF2B5EF4-FFF2-40B4-BE49-F238E27FC236}">
                  <a16:creationId xmlns:a16="http://schemas.microsoft.com/office/drawing/2014/main" id="{47F06634-AABF-B96F-3E0A-FC7EF361421A}"/>
                </a:ext>
              </a:extLst>
            </p:cNvPr>
            <p:cNvGrpSpPr/>
            <p:nvPr/>
          </p:nvGrpSpPr>
          <p:grpSpPr>
            <a:xfrm>
              <a:off x="474980" y="5529790"/>
              <a:ext cx="1980212" cy="155503"/>
              <a:chOff x="467360" y="5287566"/>
              <a:chExt cx="1980212" cy="155503"/>
            </a:xfrm>
          </p:grpSpPr>
          <p:sp>
            <p:nvSpPr>
              <p:cNvPr id="121" name="TextBox 120">
                <a:extLst>
                  <a:ext uri="{FF2B5EF4-FFF2-40B4-BE49-F238E27FC236}">
                    <a16:creationId xmlns:a16="http://schemas.microsoft.com/office/drawing/2014/main" id="{3070E505-2AC5-2455-0952-CDCC167E66AF}"/>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Chicopee</a:t>
                </a:r>
              </a:p>
            </p:txBody>
          </p:sp>
          <p:sp>
            <p:nvSpPr>
              <p:cNvPr id="122" name="Rectangle: Rounded Corners 121">
                <a:extLst>
                  <a:ext uri="{FF2B5EF4-FFF2-40B4-BE49-F238E27FC236}">
                    <a16:creationId xmlns:a16="http://schemas.microsoft.com/office/drawing/2014/main" id="{85D0968C-8D51-4ABC-A7F6-51F7129DFCB3}"/>
                  </a:ext>
                </a:extLst>
              </p:cNvPr>
              <p:cNvSpPr/>
              <p:nvPr/>
            </p:nvSpPr>
            <p:spPr>
              <a:xfrm>
                <a:off x="46736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7" name="Group 106">
              <a:extLst>
                <a:ext uri="{FF2B5EF4-FFF2-40B4-BE49-F238E27FC236}">
                  <a16:creationId xmlns:a16="http://schemas.microsoft.com/office/drawing/2014/main" id="{656825E6-982F-5F85-BE1F-A82BE5066CD5}"/>
                </a:ext>
              </a:extLst>
            </p:cNvPr>
            <p:cNvGrpSpPr/>
            <p:nvPr/>
          </p:nvGrpSpPr>
          <p:grpSpPr>
            <a:xfrm>
              <a:off x="474980" y="5756774"/>
              <a:ext cx="1980212" cy="155503"/>
              <a:chOff x="467360" y="5287566"/>
              <a:chExt cx="1980212" cy="155503"/>
            </a:xfrm>
          </p:grpSpPr>
          <p:sp>
            <p:nvSpPr>
              <p:cNvPr id="119" name="TextBox 118">
                <a:extLst>
                  <a:ext uri="{FF2B5EF4-FFF2-40B4-BE49-F238E27FC236}">
                    <a16:creationId xmlns:a16="http://schemas.microsoft.com/office/drawing/2014/main" id="{4F74E57E-E25D-5D38-8D50-FFEDADBF52AD}"/>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eenfield</a:t>
                </a:r>
              </a:p>
            </p:txBody>
          </p:sp>
          <p:sp>
            <p:nvSpPr>
              <p:cNvPr id="120" name="Rectangle: Rounded Corners 119">
                <a:extLst>
                  <a:ext uri="{FF2B5EF4-FFF2-40B4-BE49-F238E27FC236}">
                    <a16:creationId xmlns:a16="http://schemas.microsoft.com/office/drawing/2014/main" id="{5652DAFD-58A0-43C7-86D6-DFB2C80CB15E}"/>
                  </a:ext>
                </a:extLst>
              </p:cNvPr>
              <p:cNvSpPr/>
              <p:nvPr/>
            </p:nvSpPr>
            <p:spPr>
              <a:xfrm>
                <a:off x="467360" y="5326441"/>
                <a:ext cx="182880" cy="77752"/>
              </a:xfrm>
              <a:prstGeom prst="roundRect">
                <a:avLst/>
              </a:prstGeom>
              <a:solidFill>
                <a:schemeClr val="accent3">
                  <a:lumMod val="50000"/>
                </a:schemeClr>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8" name="Group 107">
              <a:extLst>
                <a:ext uri="{FF2B5EF4-FFF2-40B4-BE49-F238E27FC236}">
                  <a16:creationId xmlns:a16="http://schemas.microsoft.com/office/drawing/2014/main" id="{99300BEB-733F-83D3-816D-78AD90541B4C}"/>
                </a:ext>
              </a:extLst>
            </p:cNvPr>
            <p:cNvGrpSpPr/>
            <p:nvPr/>
          </p:nvGrpSpPr>
          <p:grpSpPr>
            <a:xfrm>
              <a:off x="2464262" y="5526260"/>
              <a:ext cx="1980212" cy="155503"/>
              <a:chOff x="467257" y="5514123"/>
              <a:chExt cx="1980212" cy="155503"/>
            </a:xfrm>
          </p:grpSpPr>
          <p:sp>
            <p:nvSpPr>
              <p:cNvPr id="117" name="TextBox 116">
                <a:extLst>
                  <a:ext uri="{FF2B5EF4-FFF2-40B4-BE49-F238E27FC236}">
                    <a16:creationId xmlns:a16="http://schemas.microsoft.com/office/drawing/2014/main" id="{7CE5BE2F-0FC0-5A42-DB41-5CD2D15FD61B}"/>
                  </a:ext>
                </a:extLst>
              </p:cNvPr>
              <p:cNvSpPr txBox="1"/>
              <p:nvPr/>
            </p:nvSpPr>
            <p:spPr>
              <a:xfrm>
                <a:off x="679629" y="5514123"/>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ittsfield</a:t>
                </a:r>
              </a:p>
            </p:txBody>
          </p:sp>
          <p:sp>
            <p:nvSpPr>
              <p:cNvPr id="118" name="Rectangle: Rounded Corners 117">
                <a:extLst>
                  <a:ext uri="{FF2B5EF4-FFF2-40B4-BE49-F238E27FC236}">
                    <a16:creationId xmlns:a16="http://schemas.microsoft.com/office/drawing/2014/main" id="{2E02B42F-56FE-8110-0624-CAB1F3CF4574}"/>
                  </a:ext>
                </a:extLst>
              </p:cNvPr>
              <p:cNvSpPr/>
              <p:nvPr/>
            </p:nvSpPr>
            <p:spPr>
              <a:xfrm>
                <a:off x="467257" y="5552998"/>
                <a:ext cx="182880" cy="77752"/>
              </a:xfrm>
              <a:prstGeom prst="roundRect">
                <a:avLst/>
              </a:prstGeom>
              <a:solidFill>
                <a:srgbClr val="F339DD"/>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9" name="Group 108">
              <a:extLst>
                <a:ext uri="{FF2B5EF4-FFF2-40B4-BE49-F238E27FC236}">
                  <a16:creationId xmlns:a16="http://schemas.microsoft.com/office/drawing/2014/main" id="{9CAD8B42-AB1F-EAC5-8A3D-70B9A7416F24}"/>
                </a:ext>
              </a:extLst>
            </p:cNvPr>
            <p:cNvGrpSpPr/>
            <p:nvPr/>
          </p:nvGrpSpPr>
          <p:grpSpPr>
            <a:xfrm>
              <a:off x="2471985" y="5315867"/>
              <a:ext cx="1980212" cy="155503"/>
              <a:chOff x="467360" y="5076746"/>
              <a:chExt cx="1980212" cy="155503"/>
            </a:xfrm>
          </p:grpSpPr>
          <p:sp>
            <p:nvSpPr>
              <p:cNvPr id="115" name="TextBox 114">
                <a:extLst>
                  <a:ext uri="{FF2B5EF4-FFF2-40B4-BE49-F238E27FC236}">
                    <a16:creationId xmlns:a16="http://schemas.microsoft.com/office/drawing/2014/main" id="{A0D7BCB0-E201-A5AC-180B-EEFE97961805}"/>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South Hadley</a:t>
                </a:r>
              </a:p>
            </p:txBody>
          </p:sp>
          <p:sp>
            <p:nvSpPr>
              <p:cNvPr id="116" name="Rectangle: Rounded Corners 115">
                <a:extLst>
                  <a:ext uri="{FF2B5EF4-FFF2-40B4-BE49-F238E27FC236}">
                    <a16:creationId xmlns:a16="http://schemas.microsoft.com/office/drawing/2014/main" id="{636BACBE-5B0C-79AE-92A6-CB504F2B65BD}"/>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112" name="Rectangle: Rounded Corners 111">
              <a:extLst>
                <a:ext uri="{FF2B5EF4-FFF2-40B4-BE49-F238E27FC236}">
                  <a16:creationId xmlns:a16="http://schemas.microsoft.com/office/drawing/2014/main" id="{02B7A395-6BFE-D17B-F734-73BDB052D181}"/>
                </a:ext>
              </a:extLst>
            </p:cNvPr>
            <p:cNvSpPr/>
            <p:nvPr/>
          </p:nvSpPr>
          <p:spPr>
            <a:xfrm flipH="1">
              <a:off x="4884420" y="5794390"/>
              <a:ext cx="67249" cy="224402"/>
            </a:xfrm>
            <a:prstGeom prst="roundRect">
              <a:avLst/>
            </a:prstGeom>
            <a:no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64" name="TextBox 63">
            <a:extLst>
              <a:ext uri="{FF2B5EF4-FFF2-40B4-BE49-F238E27FC236}">
                <a16:creationId xmlns:a16="http://schemas.microsoft.com/office/drawing/2014/main" id="{C8787DCA-D40D-9CF5-F371-21F0488C870E}"/>
              </a:ext>
            </a:extLst>
          </p:cNvPr>
          <p:cNvSpPr txBox="1"/>
          <p:nvPr/>
        </p:nvSpPr>
        <p:spPr>
          <a:xfrm>
            <a:off x="681293" y="5542277"/>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afton</a:t>
            </a:r>
          </a:p>
        </p:txBody>
      </p:sp>
      <p:sp>
        <p:nvSpPr>
          <p:cNvPr id="65" name="Rectangle: Rounded Corners 64">
            <a:extLst>
              <a:ext uri="{FF2B5EF4-FFF2-40B4-BE49-F238E27FC236}">
                <a16:creationId xmlns:a16="http://schemas.microsoft.com/office/drawing/2014/main" id="{C118745F-C3EC-B58B-E644-889ECDE42071}"/>
              </a:ext>
            </a:extLst>
          </p:cNvPr>
          <p:cNvSpPr/>
          <p:nvPr/>
        </p:nvSpPr>
        <p:spPr>
          <a:xfrm>
            <a:off x="468921" y="5581152"/>
            <a:ext cx="182880" cy="77752"/>
          </a:xfrm>
          <a:prstGeom prst="roundRect">
            <a:avLst/>
          </a:prstGeom>
          <a:solidFill>
            <a:srgbClr val="F339DD"/>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1640224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7 01:13 PM"/>
  <p:tag name="TEMPLATECREATED" val="2019-02-27 01:19 PM"/>
  <p:tag name="TEMPLATEVERSION" val="3"/>
  <p:tag name="BLUEONEFOURTHTITLEFONTCOLORFIXED" val="true"/>
  <p:tag name="DARKLAYOUTNAMESCHANGEDTOCONTRAST" val="true"/>
  <p:tag name="CTFIXED" val="Yes"/>
  <p:tag name="TEMPLATELASTEDITED" val="2020-04-03 08:06 AM"/>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89976324940671137398E+00&quot;&gt;&lt;m_msothmcolidx val=&quot;0&quot;/&gt;&lt;m_rgb r=&quot;FF&quot; g=&quot;00&quot; b=&quot;00&quot;/&gt;&lt;/elem&gt;&lt;elem m_fUsage=&quot;1.55610000000000003872E+00&quot;&gt;&lt;m_msothmcolidx val=&quot;0&quot;/&gt;&lt;m_rgb r=&quot;25&quot; g=&quot;5B&quot; b=&quot;EB&quot;/&gt;&lt;/elem&gt;&lt;elem m_fUsage=&quot;1.40049000000000001265E+00&quot;&gt;&lt;m_msothmcolidx val=&quot;0&quot;/&gt;&lt;m_rgb r=&quot;2A&quot; g=&quot;33&quot; b=&quot;5C&quot;/&gt;&lt;/elem&gt;&lt;elem m_fUsage=&quot;1.10928496519973251999E+00&quot;&gt;&lt;m_msothmcolidx val=&quot;0&quot;/&gt;&lt;m_rgb r=&quot;F0&quot; g=&quot;CA&quot; b=&quot;C8&quot;/&gt;&lt;/elem&gt;&lt;elem m_fUsage=&quot;8.37734065462328092444E-01&quot;&gt;&lt;m_msothmcolidx val=&quot;0&quot;/&gt;&lt;m_rgb r=&quot;ED&quot; g=&quot;C9&quot; b=&quot;48&quot;/&gt;&lt;/elem&gt;&lt;elem m_fUsage=&quot;5.30624913313574975149E-01&quot;&gt;&lt;m_msothmcolidx val=&quot;0&quot;/&gt;&lt;m_rgb r=&quot;97&quot; g=&quot;09&quot; b=&quot;16&quot;/&gt;&lt;/elem&gt;&lt;elem m_fUsage=&quot;4.70255094690569419580E-01&quot;&gt;&lt;m_msothmcolidx val=&quot;0&quot;/&gt;&lt;m_rgb r=&quot;D8&quot; g=&quot;16&quot; b=&quot;F3&quot;/&gt;&lt;/elem&gt;&lt;elem m_fUsage=&quot;4.26031908290714300680E-01&quot;&gt;&lt;m_msothmcolidx val=&quot;0&quot;/&gt;&lt;m_rgb r=&quot;59&quot; g=&quot;A1&quot; b=&quot;4F&quot;/&gt;&lt;/elem&gt;&lt;elem m_fUsage=&quot;3.87420489000000145552E-01&quot;&gt;&lt;m_msothmcolidx val=&quot;0&quot;/&gt;&lt;m_rgb r=&quot;FE&quot; g=&quot;E8&quot; b=&quot;BA&quot;/&gt;&lt;/elem&gt;&lt;elem m_fUsage=&quot;9.61896463451332173200E-02&quot;&gt;&lt;m_msothmcolidx val=&quot;0&quot;/&gt;&lt;m_rgb r=&quot;F9&quot; g=&quot;9D&quot; b=&quot;F9&quot;/&gt;&lt;/elem&gt;&lt;elem m_fUsage=&quot;7.76163968842583512631E-02&quot;&gt;&lt;m_msothmcolidx val=&quot;0&quot;/&gt;&lt;m_rgb r=&quot;6A&quot; g=&quot;CC&quot; b=&quot;68&quot;/&gt;&lt;/elem&gt;&lt;elem m_fUsage=&quot;4.00561927712877879904E-02&quot;&gt;&lt;m_msothmcolidx val=&quot;0&quot;/&gt;&lt;m_rgb r=&quot;FB&quot; g=&quot;11&quot; b=&quot;46&quot;/&gt;&lt;/elem&gt;&lt;elem m_fUsage=&quot;3.81520424476946215520E-02&quot;&gt;&lt;m_msothmcolidx val=&quot;0&quot;/&gt;&lt;m_rgb r=&quot;F9&quot; g=&quot;85&quot; b=&quot;4D&quot;/&gt;&lt;/elem&gt;&lt;elem m_fUsage=&quot;2.25283995449391989674E-02&quot;&gt;&lt;m_msothmcolidx val=&quot;0&quot;/&gt;&lt;m_rgb r=&quot;C6&quot; g=&quot;F1&quot; b=&quot;FF&quot;/&gt;&lt;/elem&gt;&lt;/m_vecMRU&gt;&lt;/m_mruColor&gt;&lt;m_eweekdayFirstOfWeek val=&quot;1&quot;/&gt;&lt;m_eweekdayFirstOfWorkweek val=&quot;2&quot;/&gt;&lt;m_eweekdayFirstOfWeekend val=&quot;7&quot;/&gt;&lt;/CPresentation&gt;&lt;/root&gt;"/>
  <p:tag name="TSCLIENT" val="True"/>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m5a.30oe1xmbXwjDoU0KQ"/>
</p:tagLst>
</file>

<file path=ppt/tags/tag1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Grid"/>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ACET"/>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ANGLE" val="5"/>
</p:tagLst>
</file>

<file path=ppt/tags/tag147.xml><?xml version="1.0" encoding="utf-8"?>
<p:tagLst xmlns:a="http://schemas.openxmlformats.org/drawingml/2006/main" xmlns:r="http://schemas.openxmlformats.org/officeDocument/2006/relationships" xmlns:p="http://schemas.openxmlformats.org/presentationml/2006/main">
  <p:tag name="ANGLE" val="5"/>
</p:tagLst>
</file>

<file path=ppt/tags/tag148.xml><?xml version="1.0" encoding="utf-8"?>
<p:tagLst xmlns:a="http://schemas.openxmlformats.org/drawingml/2006/main" xmlns:r="http://schemas.openxmlformats.org/officeDocument/2006/relationships" xmlns:p="http://schemas.openxmlformats.org/presentationml/2006/main">
  <p:tag name="ANGLE" val="4"/>
</p:tagLst>
</file>

<file path=ppt/tags/tag149.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ANGLE" val="3"/>
</p:tagLst>
</file>

<file path=ppt/tags/tag151.xml><?xml version="1.0" encoding="utf-8"?>
<p:tagLst xmlns:a="http://schemas.openxmlformats.org/drawingml/2006/main" xmlns:r="http://schemas.openxmlformats.org/officeDocument/2006/relationships" xmlns:p="http://schemas.openxmlformats.org/presentationml/2006/main">
  <p:tag name="ANGLE" val="3"/>
</p:tagLst>
</file>

<file path=ppt/tags/tag152.xml><?xml version="1.0" encoding="utf-8"?>
<p:tagLst xmlns:a="http://schemas.openxmlformats.org/drawingml/2006/main" xmlns:r="http://schemas.openxmlformats.org/officeDocument/2006/relationships" xmlns:p="http://schemas.openxmlformats.org/presentationml/2006/main">
  <p:tag name="ANGLE" val="2"/>
</p:tagLst>
</file>

<file path=ppt/tags/tag153.xml><?xml version="1.0" encoding="utf-8"?>
<p:tagLst xmlns:a="http://schemas.openxmlformats.org/drawingml/2006/main" xmlns:r="http://schemas.openxmlformats.org/officeDocument/2006/relationships" xmlns:p="http://schemas.openxmlformats.org/presentationml/2006/main">
  <p:tag name="ANGLE" val="2"/>
</p:tagLst>
</file>

<file path=ppt/tags/tag154.xml><?xml version="1.0" encoding="utf-8"?>
<p:tagLst xmlns:a="http://schemas.openxmlformats.org/drawingml/2006/main" xmlns:r="http://schemas.openxmlformats.org/officeDocument/2006/relationships" xmlns:p="http://schemas.openxmlformats.org/presentationml/2006/main">
  <p:tag name="ANGLE" val="1"/>
</p:tagLst>
</file>

<file path=ppt/tags/tag155.xml><?xml version="1.0" encoding="utf-8"?>
<p:tagLst xmlns:a="http://schemas.openxmlformats.org/drawingml/2006/main" xmlns:r="http://schemas.openxmlformats.org/officeDocument/2006/relationships" xmlns:p="http://schemas.openxmlformats.org/presentationml/2006/main">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DdYh2halhdJF8285D2EKg"/>
</p:tagLst>
</file>

<file path=ppt/tags/tag158.xml><?xml version="1.0" encoding="utf-8"?>
<p:tagLst xmlns:a="http://schemas.openxmlformats.org/drawingml/2006/main" xmlns:r="http://schemas.openxmlformats.org/officeDocument/2006/relationships" xmlns:p="http://schemas.openxmlformats.org/presentationml/2006/main">
  <p:tag name="SHAPENAME" val="Title"/>
</p:tagLst>
</file>

<file path=ppt/tags/tag1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Subtitle"/>
</p:tagLst>
</file>

<file path=ppt/tags/tag1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P11CnWVj4SHrNwkW4jJlQ"/>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tFDKWot6hXzrttW11n8AQ"/>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_d6dth08tUGQumsWVEb9A"/>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PKsTDVLK_dG90r4UwOosA"/>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i0mgXOmqjmJhsxDkh.0TQ"/>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zjiRFgosu1ceI1jhy8yBw"/>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4VbVzfboTV4MZRME9u.ug"/>
</p:tagLst>
</file>

<file path=ppt/tags/tag21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nND2yuhwA5F6dwgrcNckA"/>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4VZxN_OizesHAduWdSTPeQ"/>
</p:tagLst>
</file>

<file path=ppt/tags/tag2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Sb87Uq18zwplXU0IuQNUw"/>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4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0.xml><?xml version="1.0" encoding="utf-8"?>
<p:tagLst xmlns:a="http://schemas.openxmlformats.org/drawingml/2006/main" xmlns:r="http://schemas.openxmlformats.org/officeDocument/2006/relationships" xmlns:p="http://schemas.openxmlformats.org/presentationml/2006/main">
  <p:tag name="SHAPENAME" val="Grid"/>
</p:tagLst>
</file>

<file path=ppt/tags/tag251.xml><?xml version="1.0" encoding="utf-8"?>
<p:tagLst xmlns:a="http://schemas.openxmlformats.org/drawingml/2006/main" xmlns:r="http://schemas.openxmlformats.org/officeDocument/2006/relationships" xmlns:p="http://schemas.openxmlformats.org/presentationml/2006/main">
  <p:tag name="NAME" val="ACET"/>
</p:tagLst>
</file>

<file path=ppt/tags/tag2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3.xml><?xml version="1.0" encoding="utf-8"?>
<p:tagLst xmlns:a="http://schemas.openxmlformats.org/drawingml/2006/main" xmlns:r="http://schemas.openxmlformats.org/officeDocument/2006/relationships" xmlns:p="http://schemas.openxmlformats.org/presentationml/2006/main">
  <p:tag name="NAME" val="Moon"/>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4"/>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3"/>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2"/>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ANGLE" val="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SHAPENAME" val="Title"/>
</p:tagLst>
</file>

<file path=ppt/tags/tag2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2.xml><?xml version="1.0" encoding="utf-8"?>
<p:tagLst xmlns:a="http://schemas.openxmlformats.org/drawingml/2006/main" xmlns:r="http://schemas.openxmlformats.org/officeDocument/2006/relationships" xmlns:p="http://schemas.openxmlformats.org/presentationml/2006/main">
  <p:tag name="SHAPENAME" val="Subtitle"/>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77.xml><?xml version="1.0" encoding="utf-8"?>
<p:tagLst xmlns:a="http://schemas.openxmlformats.org/drawingml/2006/main" xmlns:r="http://schemas.openxmlformats.org/officeDocument/2006/relationships" xmlns:p="http://schemas.openxmlformats.org/presentationml/2006/main">
  <p:tag name="SHAPENAME" val="Title"/>
</p:tagLst>
</file>

<file path=ppt/tags/tag2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9.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2.xml><?xml version="1.0" encoding="utf-8"?>
<p:tagLst xmlns:a="http://schemas.openxmlformats.org/drawingml/2006/main" xmlns:r="http://schemas.openxmlformats.org/officeDocument/2006/relationships" xmlns:p="http://schemas.openxmlformats.org/presentationml/2006/main">
  <p:tag name="MM_SLIDE_TYPE" val="6"/>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2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3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3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Subtitle"/>
</p:tagLst>
</file>

<file path=ppt/tags/tag35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3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9.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M_SLIDE_TYPE" val="6"/>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OewHppY6esXQVtHgLQrA"/>
</p:tagLst>
</file>

<file path=ppt/tags/tag3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Grid"/>
</p:tagLst>
</file>

<file path=ppt/tags/tag389.xml><?xml version="1.0" encoding="utf-8"?>
<p:tagLst xmlns:a="http://schemas.openxmlformats.org/drawingml/2006/main" xmlns:r="http://schemas.openxmlformats.org/officeDocument/2006/relationships" xmlns:p="http://schemas.openxmlformats.org/presentationml/2006/main">
  <p:tag name="NAME" val="ACE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
</p:tagLst>
</file>

<file path=ppt/tags/tag393.xml><?xml version="1.0" encoding="utf-8"?>
<p:tagLst xmlns:a="http://schemas.openxmlformats.org/drawingml/2006/main" xmlns:r="http://schemas.openxmlformats.org/officeDocument/2006/relationships" xmlns:p="http://schemas.openxmlformats.org/presentationml/2006/main">
  <p:tag name="NAME" val="Moon"/>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ANGLE" val="5"/>
</p:tagLst>
</file>

<file path=ppt/tags/tag396.xml><?xml version="1.0" encoding="utf-8"?>
<p:tagLst xmlns:a="http://schemas.openxmlformats.org/drawingml/2006/main" xmlns:r="http://schemas.openxmlformats.org/officeDocument/2006/relationships" xmlns:p="http://schemas.openxmlformats.org/presentationml/2006/main">
  <p:tag name="ANGLE" val="5"/>
</p:tagLst>
</file>

<file path=ppt/tags/tag397.xml><?xml version="1.0" encoding="utf-8"?>
<p:tagLst xmlns:a="http://schemas.openxmlformats.org/drawingml/2006/main" xmlns:r="http://schemas.openxmlformats.org/officeDocument/2006/relationships" xmlns:p="http://schemas.openxmlformats.org/presentationml/2006/main">
  <p:tag name="ANGLE" val="4"/>
</p:tagLst>
</file>

<file path=ppt/tags/tag398.xml><?xml version="1.0" encoding="utf-8"?>
<p:tagLst xmlns:a="http://schemas.openxmlformats.org/drawingml/2006/main" xmlns:r="http://schemas.openxmlformats.org/officeDocument/2006/relationships" xmlns:p="http://schemas.openxmlformats.org/presentationml/2006/main">
  <p:tag name="ANGLE" val="4"/>
</p:tagLst>
</file>

<file path=ppt/tags/tag399.xml><?xml version="1.0" encoding="utf-8"?>
<p:tagLst xmlns:a="http://schemas.openxmlformats.org/drawingml/2006/main" xmlns:r="http://schemas.openxmlformats.org/officeDocument/2006/relationships" xmlns:p="http://schemas.openxmlformats.org/presentationml/2006/main">
  <p:tag name="ANGLE" val="3"/>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00.xml><?xml version="1.0" encoding="utf-8"?>
<p:tagLst xmlns:a="http://schemas.openxmlformats.org/drawingml/2006/main" xmlns:r="http://schemas.openxmlformats.org/officeDocument/2006/relationships" xmlns:p="http://schemas.openxmlformats.org/presentationml/2006/main">
  <p:tag name="ANGLE" val="3"/>
</p:tagLst>
</file>

<file path=ppt/tags/tag401.xml><?xml version="1.0" encoding="utf-8"?>
<p:tagLst xmlns:a="http://schemas.openxmlformats.org/drawingml/2006/main" xmlns:r="http://schemas.openxmlformats.org/officeDocument/2006/relationships" xmlns:p="http://schemas.openxmlformats.org/presentationml/2006/main">
  <p:tag name="ANGLE" val="2"/>
</p:tagLst>
</file>

<file path=ppt/tags/tag402.xml><?xml version="1.0" encoding="utf-8"?>
<p:tagLst xmlns:a="http://schemas.openxmlformats.org/drawingml/2006/main" xmlns:r="http://schemas.openxmlformats.org/officeDocument/2006/relationships" xmlns:p="http://schemas.openxmlformats.org/presentationml/2006/main">
  <p:tag name="ANGLE" val="2"/>
</p:tagLst>
</file>

<file path=ppt/tags/tag403.xml><?xml version="1.0" encoding="utf-8"?>
<p:tagLst xmlns:a="http://schemas.openxmlformats.org/drawingml/2006/main" xmlns:r="http://schemas.openxmlformats.org/officeDocument/2006/relationships" xmlns:p="http://schemas.openxmlformats.org/presentationml/2006/main">
  <p:tag name="ANGLE" val="1"/>
</p:tagLst>
</file>

<file path=ppt/tags/tag404.xml><?xml version="1.0" encoding="utf-8"?>
<p:tagLst xmlns:a="http://schemas.openxmlformats.org/drawingml/2006/main" xmlns:r="http://schemas.openxmlformats.org/officeDocument/2006/relationships" xmlns:p="http://schemas.openxmlformats.org/presentationml/2006/main">
  <p:tag name="ANGLE" val="1"/>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407.xml><?xml version="1.0" encoding="utf-8"?>
<p:tagLst xmlns:a="http://schemas.openxmlformats.org/drawingml/2006/main" xmlns:r="http://schemas.openxmlformats.org/officeDocument/2006/relationships" xmlns:p="http://schemas.openxmlformats.org/presentationml/2006/main">
  <p:tag name="SHAPENAME" val="Title"/>
</p:tagLst>
</file>

<file path=ppt/tags/tag40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9.xml><?xml version="1.0" encoding="utf-8"?>
<p:tagLst xmlns:a="http://schemas.openxmlformats.org/drawingml/2006/main" xmlns:r="http://schemas.openxmlformats.org/officeDocument/2006/relationships" xmlns:p="http://schemas.openxmlformats.org/presentationml/2006/main">
  <p:tag name="SHAPENAME" val="Sub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2.xml><?xml version="1.0" encoding="utf-8"?>
<p:tagLst xmlns:a="http://schemas.openxmlformats.org/drawingml/2006/main" xmlns:r="http://schemas.openxmlformats.org/officeDocument/2006/relationships" xmlns:p="http://schemas.openxmlformats.org/presentationml/2006/main">
  <p:tag name="SHAPENAME" val="5. Source"/>
</p:tagLst>
</file>

<file path=ppt/tags/tag4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4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SHAPENAME" val="5. Source"/>
</p:tagLst>
</file>

<file path=ppt/tags/tag4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4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8.xml><?xml version="1.0" encoding="utf-8"?>
<p:tagLst xmlns:a="http://schemas.openxmlformats.org/drawingml/2006/main" xmlns:r="http://schemas.openxmlformats.org/officeDocument/2006/relationships" xmlns:p="http://schemas.openxmlformats.org/presentationml/2006/main">
  <p:tag name="SHAPENAME" val="5. Source"/>
</p:tagLst>
</file>

<file path=ppt/tags/tag4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4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6.xml><?xml version="1.0" encoding="utf-8"?>
<p:tagLst xmlns:a="http://schemas.openxmlformats.org/drawingml/2006/main" xmlns:r="http://schemas.openxmlformats.org/officeDocument/2006/relationships" xmlns:p="http://schemas.openxmlformats.org/presentationml/2006/main">
  <p:tag name="SHAPENAME" val="5. Source"/>
</p:tagLst>
</file>

<file path=ppt/tags/tag4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4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4.xml><?xml version="1.0" encoding="utf-8"?>
<p:tagLst xmlns:a="http://schemas.openxmlformats.org/drawingml/2006/main" xmlns:r="http://schemas.openxmlformats.org/officeDocument/2006/relationships" xmlns:p="http://schemas.openxmlformats.org/presentationml/2006/main">
  <p:tag name="SHAPENAME" val="5. Source"/>
</p:tagLst>
</file>

<file path=ppt/tags/tag4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4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4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SHAPENAME" val="5. Source"/>
</p:tagLst>
</file>

<file path=ppt/tags/tag4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5. Source"/>
</p:tagLst>
</file>

<file path=ppt/tags/tag4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SHAPENAME" val="5. Source"/>
</p:tagLst>
</file>

<file path=ppt/tags/tag4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2.xml><?xml version="1.0" encoding="utf-8"?>
<p:tagLst xmlns:a="http://schemas.openxmlformats.org/drawingml/2006/main" xmlns:r="http://schemas.openxmlformats.org/officeDocument/2006/relationships" xmlns:p="http://schemas.openxmlformats.org/presentationml/2006/main">
  <p:tag name="SHAPENAME" val="Grid"/>
</p:tagLst>
</file>

<file path=ppt/tags/tag503.xml><?xml version="1.0" encoding="utf-8"?>
<p:tagLst xmlns:a="http://schemas.openxmlformats.org/drawingml/2006/main" xmlns:r="http://schemas.openxmlformats.org/officeDocument/2006/relationships" xmlns:p="http://schemas.openxmlformats.org/presentationml/2006/main">
  <p:tag name="NAME" val="ACET"/>
</p:tagLst>
</file>

<file path=ppt/tags/tag5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05.xml><?xml version="1.0" encoding="utf-8"?>
<p:tagLst xmlns:a="http://schemas.openxmlformats.org/drawingml/2006/main" xmlns:r="http://schemas.openxmlformats.org/officeDocument/2006/relationships" xmlns:p="http://schemas.openxmlformats.org/presentationml/2006/main">
  <p:tag name="NAME" val="Moon"/>
</p:tagLst>
</file>

<file path=ppt/tags/tag506.xml><?xml version="1.0" encoding="utf-8"?>
<p:tagLst xmlns:a="http://schemas.openxmlformats.org/drawingml/2006/main" xmlns:r="http://schemas.openxmlformats.org/officeDocument/2006/relationships" xmlns:p="http://schemas.openxmlformats.org/presentationml/2006/main">
  <p:tag name="NAME" val="Moon"/>
</p:tagLst>
</file>

<file path=ppt/tags/tag507.xml><?xml version="1.0" encoding="utf-8"?>
<p:tagLst xmlns:a="http://schemas.openxmlformats.org/drawingml/2006/main" xmlns:r="http://schemas.openxmlformats.org/officeDocument/2006/relationships" xmlns:p="http://schemas.openxmlformats.org/presentationml/2006/main">
  <p:tag name="NAME" val="Moon"/>
</p:tagLst>
</file>

<file path=ppt/tags/tag508.xml><?xml version="1.0" encoding="utf-8"?>
<p:tagLst xmlns:a="http://schemas.openxmlformats.org/drawingml/2006/main" xmlns:r="http://schemas.openxmlformats.org/officeDocument/2006/relationships" xmlns:p="http://schemas.openxmlformats.org/presentationml/2006/main">
  <p:tag name="NAME" val="Moon"/>
</p:tagLst>
</file>

<file path=ppt/tags/tag509.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ANGLE" val="5"/>
</p:tagLst>
</file>

<file path=ppt/tags/tag511.xml><?xml version="1.0" encoding="utf-8"?>
<p:tagLst xmlns:a="http://schemas.openxmlformats.org/drawingml/2006/main" xmlns:r="http://schemas.openxmlformats.org/officeDocument/2006/relationships" xmlns:p="http://schemas.openxmlformats.org/presentationml/2006/main">
  <p:tag name="ANGLE" val="5"/>
</p:tagLst>
</file>

<file path=ppt/tags/tag512.xml><?xml version="1.0" encoding="utf-8"?>
<p:tagLst xmlns:a="http://schemas.openxmlformats.org/drawingml/2006/main" xmlns:r="http://schemas.openxmlformats.org/officeDocument/2006/relationships" xmlns:p="http://schemas.openxmlformats.org/presentationml/2006/main">
  <p:tag name="ANGLE" val="4"/>
</p:tagLst>
</file>

<file path=ppt/tags/tag513.xml><?xml version="1.0" encoding="utf-8"?>
<p:tagLst xmlns:a="http://schemas.openxmlformats.org/drawingml/2006/main" xmlns:r="http://schemas.openxmlformats.org/officeDocument/2006/relationships" xmlns:p="http://schemas.openxmlformats.org/presentationml/2006/main">
  <p:tag name="ANGLE" val="4"/>
</p:tagLst>
</file>

<file path=ppt/tags/tag514.xml><?xml version="1.0" encoding="utf-8"?>
<p:tagLst xmlns:a="http://schemas.openxmlformats.org/drawingml/2006/main" xmlns:r="http://schemas.openxmlformats.org/officeDocument/2006/relationships" xmlns:p="http://schemas.openxmlformats.org/presentationml/2006/main">
  <p:tag name="ANGLE" val="3"/>
</p:tagLst>
</file>

<file path=ppt/tags/tag515.xml><?xml version="1.0" encoding="utf-8"?>
<p:tagLst xmlns:a="http://schemas.openxmlformats.org/drawingml/2006/main" xmlns:r="http://schemas.openxmlformats.org/officeDocument/2006/relationships" xmlns:p="http://schemas.openxmlformats.org/presentationml/2006/main">
  <p:tag name="ANGLE" val="3"/>
</p:tagLst>
</file>

<file path=ppt/tags/tag516.xml><?xml version="1.0" encoding="utf-8"?>
<p:tagLst xmlns:a="http://schemas.openxmlformats.org/drawingml/2006/main" xmlns:r="http://schemas.openxmlformats.org/officeDocument/2006/relationships" xmlns:p="http://schemas.openxmlformats.org/presentationml/2006/main">
  <p:tag name="ANGLE" val="2"/>
</p:tagLst>
</file>

<file path=ppt/tags/tag517.xml><?xml version="1.0" encoding="utf-8"?>
<p:tagLst xmlns:a="http://schemas.openxmlformats.org/drawingml/2006/main" xmlns:r="http://schemas.openxmlformats.org/officeDocument/2006/relationships" xmlns:p="http://schemas.openxmlformats.org/presentationml/2006/main">
  <p:tag name="ANGLE" val="2"/>
</p:tagLst>
</file>

<file path=ppt/tags/tag518.xml><?xml version="1.0" encoding="utf-8"?>
<p:tagLst xmlns:a="http://schemas.openxmlformats.org/drawingml/2006/main" xmlns:r="http://schemas.openxmlformats.org/officeDocument/2006/relationships" xmlns:p="http://schemas.openxmlformats.org/presentationml/2006/main">
  <p:tag name="ANGLE" val="1"/>
</p:tagLst>
</file>

<file path=ppt/tags/tag519.xml><?xml version="1.0" encoding="utf-8"?>
<p:tagLst xmlns:a="http://schemas.openxmlformats.org/drawingml/2006/main" xmlns:r="http://schemas.openxmlformats.org/officeDocument/2006/relationships" xmlns:p="http://schemas.openxmlformats.org/presentationml/2006/main">
  <p:tag name="ANGLE" val="1"/>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522.xml><?xml version="1.0" encoding="utf-8"?>
<p:tagLst xmlns:a="http://schemas.openxmlformats.org/drawingml/2006/main" xmlns:r="http://schemas.openxmlformats.org/officeDocument/2006/relationships" xmlns:p="http://schemas.openxmlformats.org/presentationml/2006/main">
  <p:tag name="SHAPENAME" val="Title"/>
</p:tagLst>
</file>

<file path=ppt/tags/tag5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4.xml><?xml version="1.0" encoding="utf-8"?>
<p:tagLst xmlns:a="http://schemas.openxmlformats.org/drawingml/2006/main" xmlns:r="http://schemas.openxmlformats.org/officeDocument/2006/relationships" xmlns:p="http://schemas.openxmlformats.org/presentationml/2006/main">
  <p:tag name="SHAPENAME" val="Subtitle"/>
</p:tagLst>
</file>

<file path=ppt/tags/tag5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529.xml><?xml version="1.0" encoding="utf-8"?>
<p:tagLst xmlns:a="http://schemas.openxmlformats.org/drawingml/2006/main" xmlns:r="http://schemas.openxmlformats.org/officeDocument/2006/relationships" xmlns:p="http://schemas.openxmlformats.org/presentationml/2006/main">
  <p:tag name="SHAPENAME" val="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1.xml><?xml version="1.0" encoding="utf-8"?>
<p:tagLst xmlns:a="http://schemas.openxmlformats.org/drawingml/2006/main" xmlns:r="http://schemas.openxmlformats.org/officeDocument/2006/relationships" xmlns:p="http://schemas.openxmlformats.org/presentationml/2006/main">
  <p:tag name="SHAPENAME" val="Subtitle"/>
</p:tagLst>
</file>

<file path=ppt/tags/tag5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4.xml><?xml version="1.0" encoding="utf-8"?>
<p:tagLst xmlns:a="http://schemas.openxmlformats.org/drawingml/2006/main" xmlns:r="http://schemas.openxmlformats.org/officeDocument/2006/relationships" xmlns:p="http://schemas.openxmlformats.org/presentationml/2006/main">
  <p:tag name="MM_SLIDE_TYPE" val="6"/>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5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SHAPENAME" val="5. Source"/>
</p:tagLst>
</file>

<file path=ppt/tags/tag5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5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9.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6.xml><?xml version="1.0" encoding="utf-8"?>
<p:tagLst xmlns:a="http://schemas.openxmlformats.org/drawingml/2006/main" xmlns:r="http://schemas.openxmlformats.org/officeDocument/2006/relationships" xmlns:p="http://schemas.openxmlformats.org/presentationml/2006/main">
  <p:tag name="SHAPENAME" val="5. Source"/>
</p:tagLst>
</file>

<file path=ppt/tags/tag5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5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5.xml><?xml version="1.0" encoding="utf-8"?>
<p:tagLst xmlns:a="http://schemas.openxmlformats.org/drawingml/2006/main" xmlns:r="http://schemas.openxmlformats.org/officeDocument/2006/relationships" xmlns:p="http://schemas.openxmlformats.org/presentationml/2006/main">
  <p:tag name="SHAPENAME" val="5. Source"/>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5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4.xml><?xml version="1.0" encoding="utf-8"?>
<p:tagLst xmlns:a="http://schemas.openxmlformats.org/drawingml/2006/main" xmlns:r="http://schemas.openxmlformats.org/officeDocument/2006/relationships" xmlns:p="http://schemas.openxmlformats.org/presentationml/2006/main">
  <p:tag name="SHAPENAME" val="5. Source"/>
</p:tagLst>
</file>

<file path=ppt/tags/tag5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5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3.xml><?xml version="1.0" encoding="utf-8"?>
<p:tagLst xmlns:a="http://schemas.openxmlformats.org/drawingml/2006/main" xmlns:r="http://schemas.openxmlformats.org/officeDocument/2006/relationships" xmlns:p="http://schemas.openxmlformats.org/presentationml/2006/main">
  <p:tag name="SHAPENAME" val="5. Source"/>
</p:tagLst>
</file>

<file path=ppt/tags/tag5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2.xml><?xml version="1.0" encoding="utf-8"?>
<p:tagLst xmlns:a="http://schemas.openxmlformats.org/drawingml/2006/main" xmlns:r="http://schemas.openxmlformats.org/officeDocument/2006/relationships" xmlns:p="http://schemas.openxmlformats.org/presentationml/2006/main">
  <p:tag name="SHAPENAME" val="5. Source"/>
</p:tagLst>
</file>

<file path=ppt/tags/tag6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6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6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SHAPENAME" val="5. Source"/>
</p:tagLst>
</file>

<file path=ppt/tags/tag6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5.xml><?xml version="1.0" encoding="utf-8"?>
<p:tagLst xmlns:a="http://schemas.openxmlformats.org/drawingml/2006/main" xmlns:r="http://schemas.openxmlformats.org/officeDocument/2006/relationships" xmlns:p="http://schemas.openxmlformats.org/presentationml/2006/main">
  <p:tag name="SHAPENAME" val="5. Source"/>
</p:tagLst>
</file>

<file path=ppt/tags/tag6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63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5.xml><?xml version="1.0" encoding="utf-8"?>
<p:tagLst xmlns:a="http://schemas.openxmlformats.org/drawingml/2006/main" xmlns:r="http://schemas.openxmlformats.org/officeDocument/2006/relationships" xmlns:p="http://schemas.openxmlformats.org/presentationml/2006/main">
  <p:tag name="SHAPENAME" val="Grid"/>
</p:tagLst>
</file>

<file path=ppt/tags/tag636.xml><?xml version="1.0" encoding="utf-8"?>
<p:tagLst xmlns:a="http://schemas.openxmlformats.org/drawingml/2006/main" xmlns:r="http://schemas.openxmlformats.org/officeDocument/2006/relationships" xmlns:p="http://schemas.openxmlformats.org/presentationml/2006/main">
  <p:tag name="NAME" val="ACET"/>
</p:tagLst>
</file>

<file path=ppt/tags/tag637.xml><?xml version="1.0" encoding="utf-8"?>
<p:tagLst xmlns:a="http://schemas.openxmlformats.org/drawingml/2006/main" xmlns:r="http://schemas.openxmlformats.org/officeDocument/2006/relationships" xmlns:p="http://schemas.openxmlformats.org/presentationml/2006/main">
  <p:tag name="NAME" val="Moon"/>
</p:tagLst>
</file>

<file path=ppt/tags/tag638.xml><?xml version="1.0" encoding="utf-8"?>
<p:tagLst xmlns:a="http://schemas.openxmlformats.org/drawingml/2006/main" xmlns:r="http://schemas.openxmlformats.org/officeDocument/2006/relationships" xmlns:p="http://schemas.openxmlformats.org/presentationml/2006/main">
  <p:tag name="NAME" val="Moon"/>
</p:tagLst>
</file>

<file path=ppt/tags/tag639.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NAME" val="Moon"/>
</p:tagLst>
</file>

<file path=ppt/tags/tag641.xml><?xml version="1.0" encoding="utf-8"?>
<p:tagLst xmlns:a="http://schemas.openxmlformats.org/drawingml/2006/main" xmlns:r="http://schemas.openxmlformats.org/officeDocument/2006/relationships" xmlns:p="http://schemas.openxmlformats.org/presentationml/2006/main">
  <p:tag name="NAME" val="Moon"/>
</p:tagLst>
</file>

<file path=ppt/tags/tag642.xml><?xml version="1.0" encoding="utf-8"?>
<p:tagLst xmlns:a="http://schemas.openxmlformats.org/drawingml/2006/main" xmlns:r="http://schemas.openxmlformats.org/officeDocument/2006/relationships" xmlns:p="http://schemas.openxmlformats.org/presentationml/2006/main">
  <p:tag name="ANGLE" val="5"/>
</p:tagLst>
</file>

<file path=ppt/tags/tag643.xml><?xml version="1.0" encoding="utf-8"?>
<p:tagLst xmlns:a="http://schemas.openxmlformats.org/drawingml/2006/main" xmlns:r="http://schemas.openxmlformats.org/officeDocument/2006/relationships" xmlns:p="http://schemas.openxmlformats.org/presentationml/2006/main">
  <p:tag name="ANGLE" val="5"/>
</p:tagLst>
</file>

<file path=ppt/tags/tag644.xml><?xml version="1.0" encoding="utf-8"?>
<p:tagLst xmlns:a="http://schemas.openxmlformats.org/drawingml/2006/main" xmlns:r="http://schemas.openxmlformats.org/officeDocument/2006/relationships" xmlns:p="http://schemas.openxmlformats.org/presentationml/2006/main">
  <p:tag name="ANGLE" val="4"/>
</p:tagLst>
</file>

<file path=ppt/tags/tag645.xml><?xml version="1.0" encoding="utf-8"?>
<p:tagLst xmlns:a="http://schemas.openxmlformats.org/drawingml/2006/main" xmlns:r="http://schemas.openxmlformats.org/officeDocument/2006/relationships" xmlns:p="http://schemas.openxmlformats.org/presentationml/2006/main">
  <p:tag name="ANGLE" val="4"/>
</p:tagLst>
</file>

<file path=ppt/tags/tag646.xml><?xml version="1.0" encoding="utf-8"?>
<p:tagLst xmlns:a="http://schemas.openxmlformats.org/drawingml/2006/main" xmlns:r="http://schemas.openxmlformats.org/officeDocument/2006/relationships" xmlns:p="http://schemas.openxmlformats.org/presentationml/2006/main">
  <p:tag name="ANGLE" val="3"/>
</p:tagLst>
</file>

<file path=ppt/tags/tag647.xml><?xml version="1.0" encoding="utf-8"?>
<p:tagLst xmlns:a="http://schemas.openxmlformats.org/drawingml/2006/main" xmlns:r="http://schemas.openxmlformats.org/officeDocument/2006/relationships" xmlns:p="http://schemas.openxmlformats.org/presentationml/2006/main">
  <p:tag name="ANGLE" val="3"/>
</p:tagLst>
</file>

<file path=ppt/tags/tag648.xml><?xml version="1.0" encoding="utf-8"?>
<p:tagLst xmlns:a="http://schemas.openxmlformats.org/drawingml/2006/main" xmlns:r="http://schemas.openxmlformats.org/officeDocument/2006/relationships" xmlns:p="http://schemas.openxmlformats.org/presentationml/2006/main">
  <p:tag name="ANGLE" val="2"/>
</p:tagLst>
</file>

<file path=ppt/tags/tag649.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0.xml><?xml version="1.0" encoding="utf-8"?>
<p:tagLst xmlns:a="http://schemas.openxmlformats.org/drawingml/2006/main" xmlns:r="http://schemas.openxmlformats.org/officeDocument/2006/relationships" xmlns:p="http://schemas.openxmlformats.org/presentationml/2006/main">
  <p:tag name="ANGLE" val="1"/>
</p:tagLst>
</file>

<file path=ppt/tags/tag651.xml><?xml version="1.0" encoding="utf-8"?>
<p:tagLst xmlns:a="http://schemas.openxmlformats.org/drawingml/2006/main" xmlns:r="http://schemas.openxmlformats.org/officeDocument/2006/relationships" xmlns:p="http://schemas.openxmlformats.org/presentationml/2006/main">
  <p:tag name="ANGLE" val="1"/>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654.xml><?xml version="1.0" encoding="utf-8"?>
<p:tagLst xmlns:a="http://schemas.openxmlformats.org/drawingml/2006/main" xmlns:r="http://schemas.openxmlformats.org/officeDocument/2006/relationships" xmlns:p="http://schemas.openxmlformats.org/presentationml/2006/main">
  <p:tag name="SHAPENAME" val="Title"/>
</p:tagLst>
</file>

<file path=ppt/tags/tag6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6.xml><?xml version="1.0" encoding="utf-8"?>
<p:tagLst xmlns:a="http://schemas.openxmlformats.org/drawingml/2006/main" xmlns:r="http://schemas.openxmlformats.org/officeDocument/2006/relationships" xmlns:p="http://schemas.openxmlformats.org/presentationml/2006/main">
  <p:tag name="SHAPENAME" val="Subtitle"/>
</p:tagLst>
</file>

<file path=ppt/tags/tag6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6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4.xml><?xml version="1.0" encoding="utf-8"?>
<p:tagLst xmlns:a="http://schemas.openxmlformats.org/drawingml/2006/main" xmlns:r="http://schemas.openxmlformats.org/officeDocument/2006/relationships" xmlns:p="http://schemas.openxmlformats.org/presentationml/2006/main">
  <p:tag name="SHAPENAME" val="5. Source"/>
</p:tagLst>
</file>

<file path=ppt/tags/tag6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6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9.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6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5.xml><?xml version="1.0" encoding="utf-8"?>
<p:tagLst xmlns:a="http://schemas.openxmlformats.org/drawingml/2006/main" xmlns:r="http://schemas.openxmlformats.org/officeDocument/2006/relationships" xmlns:p="http://schemas.openxmlformats.org/presentationml/2006/main">
  <p:tag name="SHAPENAME" val="5. Sourc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81.xml><?xml version="1.0" encoding="utf-8"?>
<p:tagLst xmlns:a="http://schemas.openxmlformats.org/drawingml/2006/main" xmlns:r="http://schemas.openxmlformats.org/officeDocument/2006/relationships" xmlns:p="http://schemas.openxmlformats.org/presentationml/2006/main">
  <p:tag name="SHAPENAME" val="5. Source"/>
</p:tagLst>
</file>

<file path=ppt/tags/tag6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87.xml><?xml version="1.0" encoding="utf-8"?>
<p:tagLst xmlns:a="http://schemas.openxmlformats.org/drawingml/2006/main" xmlns:r="http://schemas.openxmlformats.org/officeDocument/2006/relationships" xmlns:p="http://schemas.openxmlformats.org/presentationml/2006/main">
  <p:tag name="SHAPENAME" val="5. Source"/>
</p:tagLst>
</file>

<file path=ppt/tags/tag6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6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5.xml><?xml version="1.0" encoding="utf-8"?>
<p:tagLst xmlns:a="http://schemas.openxmlformats.org/drawingml/2006/main" xmlns:r="http://schemas.openxmlformats.org/officeDocument/2006/relationships" xmlns:p="http://schemas.openxmlformats.org/presentationml/2006/main">
  <p:tag name="SHAPENAME" val="5. Source"/>
</p:tagLst>
</file>

<file path=ppt/tags/tag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7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3.xml><?xml version="1.0" encoding="utf-8"?>
<p:tagLst xmlns:a="http://schemas.openxmlformats.org/drawingml/2006/main" xmlns:r="http://schemas.openxmlformats.org/officeDocument/2006/relationships" xmlns:p="http://schemas.openxmlformats.org/presentationml/2006/main">
  <p:tag name="SHAPENAME" val="5. Source"/>
</p:tagLst>
</file>

<file path=ppt/tags/tag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1.xml><?xml version="1.0" encoding="utf-8"?>
<p:tagLst xmlns:a="http://schemas.openxmlformats.org/drawingml/2006/main" xmlns:r="http://schemas.openxmlformats.org/officeDocument/2006/relationships" xmlns:p="http://schemas.openxmlformats.org/presentationml/2006/main">
  <p:tag name="SHAPENAME" val="5. Source"/>
</p:tagLst>
</file>

<file path=ppt/tags/tag7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7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9.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7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7.xml><?xml version="1.0" encoding="utf-8"?>
<p:tagLst xmlns:a="http://schemas.openxmlformats.org/drawingml/2006/main" xmlns:r="http://schemas.openxmlformats.org/officeDocument/2006/relationships" xmlns:p="http://schemas.openxmlformats.org/presentationml/2006/main">
  <p:tag name="SHAPENAME" val="5. Source"/>
</p:tagLst>
</file>

<file path=ppt/tags/tag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7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7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9.xml><?xml version="1.0" encoding="utf-8"?>
<p:tagLst xmlns:a="http://schemas.openxmlformats.org/drawingml/2006/main" xmlns:r="http://schemas.openxmlformats.org/officeDocument/2006/relationships" xmlns:p="http://schemas.openxmlformats.org/presentationml/2006/main">
  <p:tag name="SHAPENAME" val="Grid"/>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NAME" val="ACET"/>
</p:tagLst>
</file>

<file path=ppt/tags/tag7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2.xml><?xml version="1.0" encoding="utf-8"?>
<p:tagLst xmlns:a="http://schemas.openxmlformats.org/drawingml/2006/main" xmlns:r="http://schemas.openxmlformats.org/officeDocument/2006/relationships" xmlns:p="http://schemas.openxmlformats.org/presentationml/2006/main">
  <p:tag name="NAME" val="Moon"/>
</p:tagLst>
</file>

<file path=ppt/tags/tag753.xml><?xml version="1.0" encoding="utf-8"?>
<p:tagLst xmlns:a="http://schemas.openxmlformats.org/drawingml/2006/main" xmlns:r="http://schemas.openxmlformats.org/officeDocument/2006/relationships" xmlns:p="http://schemas.openxmlformats.org/presentationml/2006/main">
  <p:tag name="NAME" val="Moon"/>
</p:tagLst>
</file>

<file path=ppt/tags/tag754.xml><?xml version="1.0" encoding="utf-8"?>
<p:tagLst xmlns:a="http://schemas.openxmlformats.org/drawingml/2006/main" xmlns:r="http://schemas.openxmlformats.org/officeDocument/2006/relationships" xmlns:p="http://schemas.openxmlformats.org/presentationml/2006/main">
  <p:tag name="NAME" val="Moon"/>
</p:tagLst>
</file>

<file path=ppt/tags/tag755.xml><?xml version="1.0" encoding="utf-8"?>
<p:tagLst xmlns:a="http://schemas.openxmlformats.org/drawingml/2006/main" xmlns:r="http://schemas.openxmlformats.org/officeDocument/2006/relationships" xmlns:p="http://schemas.openxmlformats.org/presentationml/2006/main">
  <p:tag name="NAME" val="Moon"/>
</p:tagLst>
</file>

<file path=ppt/tags/tag756.xml><?xml version="1.0" encoding="utf-8"?>
<p:tagLst xmlns:a="http://schemas.openxmlformats.org/drawingml/2006/main" xmlns:r="http://schemas.openxmlformats.org/officeDocument/2006/relationships" xmlns:p="http://schemas.openxmlformats.org/presentationml/2006/main">
  <p:tag name="NAME" val="Moon"/>
</p:tagLst>
</file>

<file path=ppt/tags/tag757.xml><?xml version="1.0" encoding="utf-8"?>
<p:tagLst xmlns:a="http://schemas.openxmlformats.org/drawingml/2006/main" xmlns:r="http://schemas.openxmlformats.org/officeDocument/2006/relationships" xmlns:p="http://schemas.openxmlformats.org/presentationml/2006/main">
  <p:tag name="ANGLE" val="5"/>
</p:tagLst>
</file>

<file path=ppt/tags/tag758.xml><?xml version="1.0" encoding="utf-8"?>
<p:tagLst xmlns:a="http://schemas.openxmlformats.org/drawingml/2006/main" xmlns:r="http://schemas.openxmlformats.org/officeDocument/2006/relationships" xmlns:p="http://schemas.openxmlformats.org/presentationml/2006/main">
  <p:tag name="ANGLE" val="5"/>
</p:tagLst>
</file>

<file path=ppt/tags/tag759.xml><?xml version="1.0" encoding="utf-8"?>
<p:tagLst xmlns:a="http://schemas.openxmlformats.org/drawingml/2006/main" xmlns:r="http://schemas.openxmlformats.org/officeDocument/2006/relationships" xmlns:p="http://schemas.openxmlformats.org/presentationml/2006/main">
  <p:tag name="ANGLE" val="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60.xml><?xml version="1.0" encoding="utf-8"?>
<p:tagLst xmlns:a="http://schemas.openxmlformats.org/drawingml/2006/main" xmlns:r="http://schemas.openxmlformats.org/officeDocument/2006/relationships" xmlns:p="http://schemas.openxmlformats.org/presentationml/2006/main">
  <p:tag name="ANGLE" val="4"/>
</p:tagLst>
</file>

<file path=ppt/tags/tag761.xml><?xml version="1.0" encoding="utf-8"?>
<p:tagLst xmlns:a="http://schemas.openxmlformats.org/drawingml/2006/main" xmlns:r="http://schemas.openxmlformats.org/officeDocument/2006/relationships" xmlns:p="http://schemas.openxmlformats.org/presentationml/2006/main">
  <p:tag name="ANGLE" val="3"/>
</p:tagLst>
</file>

<file path=ppt/tags/tag762.xml><?xml version="1.0" encoding="utf-8"?>
<p:tagLst xmlns:a="http://schemas.openxmlformats.org/drawingml/2006/main" xmlns:r="http://schemas.openxmlformats.org/officeDocument/2006/relationships" xmlns:p="http://schemas.openxmlformats.org/presentationml/2006/main">
  <p:tag name="ANGLE" val="3"/>
</p:tagLst>
</file>

<file path=ppt/tags/tag763.xml><?xml version="1.0" encoding="utf-8"?>
<p:tagLst xmlns:a="http://schemas.openxmlformats.org/drawingml/2006/main" xmlns:r="http://schemas.openxmlformats.org/officeDocument/2006/relationships" xmlns:p="http://schemas.openxmlformats.org/presentationml/2006/main">
  <p:tag name="ANGLE" val="2"/>
</p:tagLst>
</file>

<file path=ppt/tags/tag764.xml><?xml version="1.0" encoding="utf-8"?>
<p:tagLst xmlns:a="http://schemas.openxmlformats.org/drawingml/2006/main" xmlns:r="http://schemas.openxmlformats.org/officeDocument/2006/relationships" xmlns:p="http://schemas.openxmlformats.org/presentationml/2006/main">
  <p:tag name="ANGLE" val="2"/>
</p:tagLst>
</file>

<file path=ppt/tags/tag765.xml><?xml version="1.0" encoding="utf-8"?>
<p:tagLst xmlns:a="http://schemas.openxmlformats.org/drawingml/2006/main" xmlns:r="http://schemas.openxmlformats.org/officeDocument/2006/relationships" xmlns:p="http://schemas.openxmlformats.org/presentationml/2006/main">
  <p:tag name="ANGLE" val="1"/>
</p:tagLst>
</file>

<file path=ppt/tags/tag766.xml><?xml version="1.0" encoding="utf-8"?>
<p:tagLst xmlns:a="http://schemas.openxmlformats.org/drawingml/2006/main" xmlns:r="http://schemas.openxmlformats.org/officeDocument/2006/relationships" xmlns:p="http://schemas.openxmlformats.org/presentationml/2006/main">
  <p:tag name="ANGLE" val="1"/>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769.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1.xml><?xml version="1.0" encoding="utf-8"?>
<p:tagLst xmlns:a="http://schemas.openxmlformats.org/drawingml/2006/main" xmlns:r="http://schemas.openxmlformats.org/officeDocument/2006/relationships" xmlns:p="http://schemas.openxmlformats.org/presentationml/2006/main">
  <p:tag name="SHAPENAME" val="Subtitle"/>
</p:tagLst>
</file>

<file path=ppt/tags/tag7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776.xml><?xml version="1.0" encoding="utf-8"?>
<p:tagLst xmlns:a="http://schemas.openxmlformats.org/drawingml/2006/main" xmlns:r="http://schemas.openxmlformats.org/officeDocument/2006/relationships" xmlns:p="http://schemas.openxmlformats.org/presentationml/2006/main">
  <p:tag name="SHAPENAME" val="Title"/>
</p:tagLst>
</file>

<file path=ppt/tags/tag7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8.xml><?xml version="1.0" encoding="utf-8"?>
<p:tagLst xmlns:a="http://schemas.openxmlformats.org/drawingml/2006/main" xmlns:r="http://schemas.openxmlformats.org/officeDocument/2006/relationships" xmlns:p="http://schemas.openxmlformats.org/presentationml/2006/main">
  <p:tag name="SHAPENAME" val="Subtitle"/>
</p:tagLst>
</file>

<file path=ppt/tags/tag7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81.xml><?xml version="1.0" encoding="utf-8"?>
<p:tagLst xmlns:a="http://schemas.openxmlformats.org/drawingml/2006/main" xmlns:r="http://schemas.openxmlformats.org/officeDocument/2006/relationships" xmlns:p="http://schemas.openxmlformats.org/presentationml/2006/main">
  <p:tag name="MM_SLIDE_TYPE" val="6"/>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7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7.xml><?xml version="1.0" encoding="utf-8"?>
<p:tagLst xmlns:a="http://schemas.openxmlformats.org/drawingml/2006/main" xmlns:r="http://schemas.openxmlformats.org/officeDocument/2006/relationships" xmlns:p="http://schemas.openxmlformats.org/presentationml/2006/main">
  <p:tag name="SHAPENAME" val="5. Source"/>
</p:tagLst>
</file>

<file path=ppt/tags/tag7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7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2.xml><?xml version="1.0" encoding="utf-8"?>
<p:tagLst xmlns:a="http://schemas.openxmlformats.org/drawingml/2006/main" xmlns:r="http://schemas.openxmlformats.org/officeDocument/2006/relationships" xmlns:p="http://schemas.openxmlformats.org/presentationml/2006/main">
  <p:tag name="SHAPENAME" val="5. Source"/>
</p:tagLst>
</file>

<file path=ppt/tags/tag7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7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8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6.xml><?xml version="1.0" encoding="utf-8"?>
<p:tagLst xmlns:a="http://schemas.openxmlformats.org/drawingml/2006/main" xmlns:r="http://schemas.openxmlformats.org/officeDocument/2006/relationships" xmlns:p="http://schemas.openxmlformats.org/presentationml/2006/main">
  <p:tag name="SHAPENAME" val="5. Source"/>
</p:tagLst>
</file>

<file path=ppt/tags/tag8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8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3.xml><?xml version="1.0" encoding="utf-8"?>
<p:tagLst xmlns:a="http://schemas.openxmlformats.org/drawingml/2006/main" xmlns:r="http://schemas.openxmlformats.org/officeDocument/2006/relationships" xmlns:p="http://schemas.openxmlformats.org/presentationml/2006/main">
  <p:tag name="SHAPENAME" val="5. Source"/>
</p:tagLst>
</file>

<file path=ppt/tags/tag8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2.xml><?xml version="1.0" encoding="utf-8"?>
<p:tagLst xmlns:a="http://schemas.openxmlformats.org/drawingml/2006/main" xmlns:r="http://schemas.openxmlformats.org/officeDocument/2006/relationships" xmlns:p="http://schemas.openxmlformats.org/presentationml/2006/main">
  <p:tag name="SHAPENAME" val="5. Source"/>
</p:tagLst>
</file>

<file path=ppt/tags/tag8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1.xml><?xml version="1.0" encoding="utf-8"?>
<p:tagLst xmlns:a="http://schemas.openxmlformats.org/drawingml/2006/main" xmlns:r="http://schemas.openxmlformats.org/officeDocument/2006/relationships" xmlns:p="http://schemas.openxmlformats.org/presentationml/2006/main">
  <p:tag name="SHAPENAME" val="5. Source"/>
</p:tagLst>
</file>

<file path=ppt/tags/tag8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8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SHAPENAME" val="5. Source"/>
</p:tagLst>
</file>

<file path=ppt/tags/tag8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8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9.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8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8.xml><?xml version="1.0" encoding="utf-8"?>
<p:tagLst xmlns:a="http://schemas.openxmlformats.org/drawingml/2006/main" xmlns:r="http://schemas.openxmlformats.org/officeDocument/2006/relationships" xmlns:p="http://schemas.openxmlformats.org/presentationml/2006/main">
  <p:tag name="SHAPENAME" val="5. Source"/>
</p:tagLst>
</file>

<file path=ppt/tags/tag8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8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7.xml><?xml version="1.0" encoding="utf-8"?>
<p:tagLst xmlns:a="http://schemas.openxmlformats.org/drawingml/2006/main" xmlns:r="http://schemas.openxmlformats.org/officeDocument/2006/relationships" xmlns:p="http://schemas.openxmlformats.org/presentationml/2006/main">
  <p:tag name="SHAPENAME" val="5. Source"/>
</p:tagLst>
</file>

<file path=ppt/tags/tag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2.xml><?xml version="1.0" encoding="utf-8"?>
<p:tagLst xmlns:a="http://schemas.openxmlformats.org/drawingml/2006/main" xmlns:r="http://schemas.openxmlformats.org/officeDocument/2006/relationships" xmlns:p="http://schemas.openxmlformats.org/presentationml/2006/main">
  <p:tag name="SHAPENAME" val="5. Source"/>
</p:tagLst>
</file>

<file path=ppt/tags/tag8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SHAPENAME" val="5. Source"/>
</p:tagLst>
</file>

<file path=ppt/tags/tag8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2.xml><?xml version="1.0" encoding="utf-8"?>
<a:theme xmlns:a="http://schemas.openxmlformats.org/drawingml/2006/main" name="Contrast">
  <a:themeElements>
    <a:clrScheme name="Scheme 2">
      <a:dk1>
        <a:srgbClr val="FFFFFF"/>
      </a:dk1>
      <a:lt1>
        <a:srgbClr val="0C2D83"/>
      </a:lt1>
      <a:dk2>
        <a:srgbClr val="000000"/>
      </a:dk2>
      <a:lt2>
        <a:srgbClr val="000000"/>
      </a:lt2>
      <a:accent1>
        <a:srgbClr val="FFFFFF"/>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400" dirty="0" err="1" smtClean="0"/>
        </a:defPPr>
      </a:lstStyle>
    </a:txDef>
  </a:objectDefaults>
  <a:extraClrSchemeLst>
    <a:extraClrScheme>
      <a:clrScheme name="Scheme 2">
        <a:dk1>
          <a:srgbClr val="FFFFFF"/>
        </a:dk1>
        <a:lt1>
          <a:srgbClr val="0C2D83"/>
        </a:lt1>
        <a:dk2>
          <a:srgbClr val="000000"/>
        </a:dk2>
        <a:lt2>
          <a:srgbClr val="000000"/>
        </a:lt2>
        <a:accent1>
          <a:srgbClr val="FFFFFF"/>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27A7296-E4AD-4E7E-91E8-1857AB728449}"/>
    </a:ext>
  </a:extLst>
</a:theme>
</file>

<file path=ppt/theme/theme3.xml><?xml version="1.0" encoding="utf-8"?>
<a:theme xmlns:a="http://schemas.openxmlformats.org/drawingml/2006/main" name="1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2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10BDF7FB-8CBB-46DA-AD6B-D39AED638513}"/>
    </a:ext>
  </a:extLst>
</a:theme>
</file>

<file path=ppt/theme/theme5.xml><?xml version="1.0" encoding="utf-8"?>
<a:theme xmlns:a="http://schemas.openxmlformats.org/drawingml/2006/main" name="3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6.xml><?xml version="1.0" encoding="utf-8"?>
<a:theme xmlns:a="http://schemas.openxmlformats.org/drawingml/2006/main" name="4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10BDF7FB-8CBB-46DA-AD6B-D39AED638513}"/>
    </a:ext>
  </a:extLst>
</a:theme>
</file>

<file path=ppt/theme/theme7.xml><?xml version="1.0" encoding="utf-8"?>
<a:theme xmlns:a="http://schemas.openxmlformats.org/drawingml/2006/main" name="5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8.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1515AD27FAEC47B738952B354E4571" ma:contentTypeVersion="5" ma:contentTypeDescription="Create a new document." ma:contentTypeScope="" ma:versionID="8e148c524c0afdf1c608f828eca17e08">
  <xsd:schema xmlns:xsd="http://www.w3.org/2001/XMLSchema" xmlns:xs="http://www.w3.org/2001/XMLSchema" xmlns:p="http://schemas.microsoft.com/office/2006/metadata/properties" xmlns:ns3="f504dc79-df90-4006-86da-36df47700221" xmlns:ns4="fbb578ec-86a1-422c-84b9-ab288c347c50" targetNamespace="http://schemas.microsoft.com/office/2006/metadata/properties" ma:root="true" ma:fieldsID="4780841233583ebbb76d6a63643ae1fe" ns3:_="" ns4:_="">
    <xsd:import namespace="f504dc79-df90-4006-86da-36df47700221"/>
    <xsd:import namespace="fbb578ec-86a1-422c-84b9-ab288c347c5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04dc79-df90-4006-86da-36df477002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b578ec-86a1-422c-84b9-ab288c347c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5511F7D-C5DF-43B6-BD80-A108A315C9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04dc79-df90-4006-86da-36df47700221"/>
    <ds:schemaRef ds:uri="fbb578ec-86a1-422c-84b9-ab288c347c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4AD958E-D66B-4707-8972-B7841004AF41}">
  <ds:schemaRefs>
    <ds:schemaRef ds:uri="http://schemas.microsoft.com/sharepoint/v3/contenttype/forms"/>
  </ds:schemaRefs>
</ds:datastoreItem>
</file>

<file path=customXml/itemProps3.xml><?xml version="1.0" encoding="utf-8"?>
<ds:datastoreItem xmlns:ds="http://schemas.openxmlformats.org/officeDocument/2006/customXml" ds:itemID="{C223F7B6-D742-4139-A1DE-C78CE955A1B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f504dc79-df90-4006-86da-36df47700221"/>
    <ds:schemaRef ds:uri="http://schemas.microsoft.com/office/infopath/2007/PartnerControls"/>
    <ds:schemaRef ds:uri="fbb578ec-86a1-422c-84b9-ab288c347c5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288</Words>
  <Application>Microsoft Office PowerPoint</Application>
  <PresentationFormat>On-screen Show (4:3)</PresentationFormat>
  <Paragraphs>131</Paragraphs>
  <Slides>4</Slides>
  <Notes>4</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4</vt:i4>
      </vt:variant>
    </vt:vector>
  </HeadingPairs>
  <TitlesOfParts>
    <vt:vector size="16" baseType="lpstr">
      <vt:lpstr>Arial</vt:lpstr>
      <vt:lpstr>Georgia</vt:lpstr>
      <vt:lpstr>Segoe UI</vt:lpstr>
      <vt:lpstr>Wingdings</vt:lpstr>
      <vt:lpstr>White</vt:lpstr>
      <vt:lpstr>Contrast</vt:lpstr>
      <vt:lpstr>1_White</vt:lpstr>
      <vt:lpstr>2_White</vt:lpstr>
      <vt:lpstr>3_White</vt:lpstr>
      <vt:lpstr>4_White</vt:lpstr>
      <vt:lpstr>5_White</vt:lpstr>
      <vt:lpstr>think-cell Slide</vt:lpstr>
      <vt:lpstr>Wastewater Surveillance: Overview Part 1</vt:lpstr>
      <vt:lpstr>Wastewater Surveillance: Overview Part 2</vt:lpstr>
      <vt:lpstr>Wastewater surveillance across MA treatment plants</vt:lpstr>
      <vt:lpstr>Wastewater surveillance across MA treatment plan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06-25T17:16:46Z</dcterms:created>
  <dcterms:modified xsi:type="dcterms:W3CDTF">2022-08-11T19:26:2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1515AD27FAEC47B738952B354E4571</vt:lpwstr>
  </property>
</Properties>
</file>